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heme/themeOverride4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theme/themeOverride5.xml" ContentType="application/vnd.openxmlformats-officedocument.themeOverride+xml"/>
  <Override PartName="/ppt/tags/tag13.xml" ContentType="application/vnd.openxmlformats-officedocument.presentationml.tags+xml"/>
  <Override PartName="/ppt/theme/themeOverride6.xml" ContentType="application/vnd.openxmlformats-officedocument.themeOverr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tags/tag16.xml" ContentType="application/vnd.openxmlformats-officedocument.presentationml.tags+xml"/>
  <Override PartName="/ppt/theme/themeOverride7.xml" ContentType="application/vnd.openxmlformats-officedocument.themeOverride+xml"/>
  <Override PartName="/ppt/tags/tag17.xml" ContentType="application/vnd.openxmlformats-officedocument.presentationml.tags+xml"/>
  <Override PartName="/ppt/theme/themeOverride8.xml" ContentType="application/vnd.openxmlformats-officedocument.themeOverr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6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8.xml" ContentType="application/vnd.openxmlformats-officedocument.theme+xml"/>
  <Override PartName="/ppt/tags/tag24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9.xml" ContentType="application/vnd.openxmlformats-officedocument.them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10.xml" ContentType="application/vnd.openxmlformats-officedocument.theme+xml"/>
  <Override PartName="/ppt/tags/tag25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11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12.xml" ContentType="application/vnd.openxmlformats-officedocument.theme+xml"/>
  <Override PartName="/ppt/tags/tag28.xml" ContentType="application/vnd.openxmlformats-officedocument.presentationml.tags+xml"/>
  <Override PartName="/ppt/theme/themeOverride13.xml" ContentType="application/vnd.openxmlformats-officedocument.themeOverride+xml"/>
  <Override PartName="/ppt/tags/tag29.xml" ContentType="application/vnd.openxmlformats-officedocument.presentationml.tags+xml"/>
  <Override PartName="/ppt/theme/themeOverride14.xml" ContentType="application/vnd.openxmlformats-officedocument.themeOverr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3.xml" ContentType="application/vnd.openxmlformats-officedocument.theme+xml"/>
  <Override PartName="/ppt/tags/tag32.xml" ContentType="application/vnd.openxmlformats-officedocument.presentationml.tags+xml"/>
  <Override PartName="/ppt/theme/themeOverride15.xml" ContentType="application/vnd.openxmlformats-officedocument.themeOverride+xml"/>
  <Override PartName="/ppt/theme/themeOverride16.xml" ContentType="application/vnd.openxmlformats-officedocument.themeOverrid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4.xml" ContentType="application/vnd.openxmlformats-officedocument.theme+xml"/>
  <Override PartName="/ppt/tags/tag33.xml" ContentType="application/vnd.openxmlformats-officedocument.presentationml.tags+xml"/>
  <Override PartName="/ppt/theme/theme15.xml" ContentType="application/vnd.openxmlformats-officedocument.theme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Override17.xml" ContentType="application/vnd.openxmlformats-officedocument.themeOverr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heme/themeOverride18.xml" ContentType="application/vnd.openxmlformats-officedocument.themeOverride+xml"/>
  <Override PartName="/ppt/tags/tag1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  <p:sldMasterId id="2147483692" r:id="rId3"/>
    <p:sldMasterId id="2147483713" r:id="rId4"/>
    <p:sldMasterId id="2147483718" r:id="rId5"/>
    <p:sldMasterId id="2147483724" r:id="rId6"/>
    <p:sldMasterId id="2147483750" r:id="rId7"/>
    <p:sldMasterId id="2147483828" r:id="rId8"/>
    <p:sldMasterId id="2147483838" r:id="rId9"/>
    <p:sldMasterId id="2147483844" r:id="rId10"/>
    <p:sldMasterId id="2147483854" r:id="rId11"/>
    <p:sldMasterId id="2147483880" r:id="rId12"/>
    <p:sldMasterId id="2147483886" r:id="rId13"/>
    <p:sldMasterId id="2147483892" r:id="rId14"/>
  </p:sldMasterIdLst>
  <p:notesMasterIdLst>
    <p:notesMasterId r:id="rId25"/>
  </p:notesMasterIdLst>
  <p:sldIdLst>
    <p:sldId id="290" r:id="rId15"/>
    <p:sldId id="300" r:id="rId16"/>
    <p:sldId id="289" r:id="rId17"/>
    <p:sldId id="293" r:id="rId18"/>
    <p:sldId id="267" r:id="rId19"/>
    <p:sldId id="286" r:id="rId20"/>
    <p:sldId id="262" r:id="rId21"/>
    <p:sldId id="298" r:id="rId22"/>
    <p:sldId id="301" r:id="rId23"/>
    <p:sldId id="264" r:id="rId24"/>
  </p:sldIdLst>
  <p:sldSz cx="9906000" cy="6858000" type="A4"/>
  <p:notesSz cx="7102475" cy="10234613"/>
  <p:custDataLst>
    <p:tags r:id="rId26"/>
  </p:custDataLst>
  <p:defaultTextStyle>
    <a:defPPr>
      <a:defRPr lang="ru-RU"/>
    </a:defPPr>
    <a:lvl1pPr marL="0" algn="l" defTabSz="9142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0" algn="l" defTabSz="9142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62" algn="l" defTabSz="9142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90" algn="l" defTabSz="9142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20" algn="l" defTabSz="9142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52" algn="l" defTabSz="9142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781" algn="l" defTabSz="9142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11" algn="l" defTabSz="9142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42" algn="l" defTabSz="9142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42AE827D-D790-4E1B-95C9-C002E005561F}">
          <p14:sldIdLst>
            <p14:sldId id="290"/>
            <p14:sldId id="300"/>
            <p14:sldId id="289"/>
            <p14:sldId id="293"/>
            <p14:sldId id="267"/>
            <p14:sldId id="286"/>
            <p14:sldId id="262"/>
            <p14:sldId id="298"/>
            <p14:sldId id="301"/>
            <p14:sldId id="264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E5F2F2"/>
    <a:srgbClr val="000000"/>
    <a:srgbClr val="99CC00"/>
    <a:srgbClr val="E4E4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69" autoAdjust="0"/>
    <p:restoredTop sz="94660"/>
  </p:normalViewPr>
  <p:slideViewPr>
    <p:cSldViewPr showGuides="1">
      <p:cViewPr>
        <p:scale>
          <a:sx n="62" d="100"/>
          <a:sy n="62" d="100"/>
        </p:scale>
        <p:origin x="-898" y="264"/>
      </p:cViewPr>
      <p:guideLst>
        <p:guide orient="horz" pos="4319"/>
        <p:guide pos="17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022081538337904E-2"/>
          <c:y val="6.8366845848015056E-2"/>
          <c:w val="0.9322818097438782"/>
          <c:h val="0.7950513887800615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</c:dPt>
          <c:dPt>
            <c:idx val="1"/>
            <c:invertIfNegative val="0"/>
            <c:bubble3D val="0"/>
            <c:spPr>
              <a:noFill/>
            </c:spPr>
          </c:dPt>
          <c:dPt>
            <c:idx val="2"/>
            <c:invertIfNegative val="0"/>
            <c:bubble3D val="0"/>
            <c:spPr>
              <a:solidFill>
                <a:schemeClr val="bg2"/>
              </a:solidFill>
            </c:spPr>
          </c:dPt>
          <c:cat>
            <c:strRef>
              <c:f>Лист1!$A$2:$A$4</c:f>
              <c:strCache>
                <c:ptCount val="3"/>
                <c:pt idx="0">
                  <c:v>Производство</c:v>
                </c:pt>
                <c:pt idx="1">
                  <c:v>Потребление</c:v>
                </c:pt>
                <c:pt idx="2">
                  <c:v>Нетто-Экспор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2671</c:v>
                </c:pt>
                <c:pt idx="1">
                  <c:v>7260</c:v>
                </c:pt>
                <c:pt idx="2">
                  <c:v>726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2</c:v>
                </c:pt>
              </c:strCache>
            </c:strRef>
          </c:tx>
          <c:spPr>
            <a:solidFill>
              <a:srgbClr val="99CC00"/>
            </a:solidFill>
          </c:spPr>
          <c:invertIfNegative val="0"/>
          <c:cat>
            <c:strRef>
              <c:f>Лист1!$A$2:$A$4</c:f>
              <c:strCache>
                <c:ptCount val="3"/>
                <c:pt idx="0">
                  <c:v>Производство</c:v>
                </c:pt>
                <c:pt idx="1">
                  <c:v>Потребление</c:v>
                </c:pt>
                <c:pt idx="2">
                  <c:v>Нетто-Экспор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1">
                  <c:v>54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3762688"/>
        <c:axId val="113764224"/>
      </c:barChart>
      <c:catAx>
        <c:axId val="1137626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 sz="600"/>
            </a:pPr>
            <a:endParaRPr lang="ru-RU"/>
          </a:p>
        </c:txPr>
        <c:crossAx val="113764224"/>
        <c:crosses val="autoZero"/>
        <c:auto val="1"/>
        <c:lblAlgn val="ctr"/>
        <c:lblOffset val="100"/>
        <c:noMultiLvlLbl val="0"/>
      </c:catAx>
      <c:valAx>
        <c:axId val="113764224"/>
        <c:scaling>
          <c:orientation val="minMax"/>
          <c:max val="14000"/>
          <c:min val="-2000"/>
        </c:scaling>
        <c:delete val="1"/>
        <c:axPos val="l"/>
        <c:numFmt formatCode="General" sourceLinked="1"/>
        <c:majorTickMark val="out"/>
        <c:minorTickMark val="none"/>
        <c:tickLblPos val="nextTo"/>
        <c:crossAx val="11376268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/>
      </a:pPr>
      <a:endParaRPr lang="ru-R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022081538337904E-2"/>
          <c:y val="6.8366845848015056E-2"/>
          <c:w val="0.9322818097438782"/>
          <c:h val="0.7950513887800615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</c:dPt>
          <c:dPt>
            <c:idx val="1"/>
            <c:invertIfNegative val="0"/>
            <c:bubble3D val="0"/>
            <c:spPr>
              <a:solidFill>
                <a:srgbClr val="99CC00"/>
              </a:solidFill>
            </c:spPr>
          </c:dPt>
          <c:dPt>
            <c:idx val="2"/>
            <c:invertIfNegative val="0"/>
            <c:bubble3D val="0"/>
            <c:spPr>
              <a:solidFill>
                <a:schemeClr val="bg2"/>
              </a:solidFill>
            </c:spPr>
          </c:dPt>
          <c:cat>
            <c:strRef>
              <c:f>Лист1!$A$2:$A$4</c:f>
              <c:strCache>
                <c:ptCount val="3"/>
                <c:pt idx="0">
                  <c:v>Производство</c:v>
                </c:pt>
                <c:pt idx="1">
                  <c:v>Потребление</c:v>
                </c:pt>
                <c:pt idx="2">
                  <c:v>Нетто-Экспор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405</c:v>
                </c:pt>
                <c:pt idx="1">
                  <c:v>-175</c:v>
                </c:pt>
                <c:pt idx="2">
                  <c:v>-17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2</c:v>
                </c:pt>
              </c:strCache>
            </c:strRef>
          </c:tx>
          <c:spPr>
            <a:solidFill>
              <a:srgbClr val="99CC00"/>
            </a:solidFill>
          </c:spPr>
          <c:invertIfNegative val="0"/>
          <c:cat>
            <c:strRef>
              <c:f>Лист1!$A$2:$A$4</c:f>
              <c:strCache>
                <c:ptCount val="3"/>
                <c:pt idx="0">
                  <c:v>Производство</c:v>
                </c:pt>
                <c:pt idx="1">
                  <c:v>Потребление</c:v>
                </c:pt>
                <c:pt idx="2">
                  <c:v>Нетто-Экспор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1">
                  <c:v>4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8082560"/>
        <c:axId val="118088448"/>
      </c:barChart>
      <c:catAx>
        <c:axId val="1180825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 sz="600"/>
            </a:pPr>
            <a:endParaRPr lang="ru-RU"/>
          </a:p>
        </c:txPr>
        <c:crossAx val="118088448"/>
        <c:crosses val="autoZero"/>
        <c:auto val="1"/>
        <c:lblAlgn val="ctr"/>
        <c:lblOffset val="100"/>
        <c:noMultiLvlLbl val="0"/>
      </c:catAx>
      <c:valAx>
        <c:axId val="118088448"/>
        <c:scaling>
          <c:orientation val="minMax"/>
          <c:max val="2000"/>
          <c:min val="-1000"/>
        </c:scaling>
        <c:delete val="0"/>
        <c:axPos val="l"/>
        <c:numFmt formatCode="General" sourceLinked="1"/>
        <c:majorTickMark val="out"/>
        <c:minorTickMark val="none"/>
        <c:tickLblPos val="nextTo"/>
        <c:crossAx val="1180825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086203623744428"/>
          <c:y val="6.8366845848015056E-2"/>
          <c:w val="0.9322818097438782"/>
          <c:h val="0.7950513887800615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</c:dPt>
          <c:dPt>
            <c:idx val="1"/>
            <c:invertIfNegative val="0"/>
            <c:bubble3D val="0"/>
            <c:spPr>
              <a:solidFill>
                <a:srgbClr val="99CC00"/>
              </a:solidFill>
            </c:spPr>
          </c:dPt>
          <c:dPt>
            <c:idx val="2"/>
            <c:invertIfNegative val="0"/>
            <c:bubble3D val="0"/>
            <c:spPr>
              <a:solidFill>
                <a:schemeClr val="bg2"/>
              </a:solidFill>
            </c:spPr>
          </c:dPt>
          <c:cat>
            <c:strRef>
              <c:f>Лист1!$A$2:$A$4</c:f>
              <c:strCache>
                <c:ptCount val="3"/>
                <c:pt idx="0">
                  <c:v>Производство</c:v>
                </c:pt>
                <c:pt idx="1">
                  <c:v>Потребление</c:v>
                </c:pt>
                <c:pt idx="2">
                  <c:v>Нетто-Экспор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687</c:v>
                </c:pt>
                <c:pt idx="1">
                  <c:v>-219</c:v>
                </c:pt>
                <c:pt idx="2">
                  <c:v>-21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2</c:v>
                </c:pt>
              </c:strCache>
            </c:strRef>
          </c:tx>
          <c:spPr>
            <a:solidFill>
              <a:srgbClr val="99CC00"/>
            </a:solidFill>
          </c:spPr>
          <c:invertIfNegative val="0"/>
          <c:cat>
            <c:strRef>
              <c:f>Лист1!$A$2:$A$4</c:f>
              <c:strCache>
                <c:ptCount val="3"/>
                <c:pt idx="0">
                  <c:v>Производство</c:v>
                </c:pt>
                <c:pt idx="1">
                  <c:v>Потребление</c:v>
                </c:pt>
                <c:pt idx="2">
                  <c:v>Нетто-Экспор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1">
                  <c:v>168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3748992"/>
        <c:axId val="113779456"/>
      </c:barChart>
      <c:catAx>
        <c:axId val="1137489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 sz="600"/>
            </a:pPr>
            <a:endParaRPr lang="ru-RU"/>
          </a:p>
        </c:txPr>
        <c:crossAx val="113779456"/>
        <c:crosses val="autoZero"/>
        <c:auto val="1"/>
        <c:lblAlgn val="ctr"/>
        <c:lblOffset val="100"/>
        <c:noMultiLvlLbl val="0"/>
      </c:catAx>
      <c:valAx>
        <c:axId val="113779456"/>
        <c:scaling>
          <c:orientation val="minMax"/>
          <c:max val="14000"/>
          <c:min val="-2000"/>
        </c:scaling>
        <c:delete val="0"/>
        <c:axPos val="l"/>
        <c:numFmt formatCode="General" sourceLinked="1"/>
        <c:majorTickMark val="out"/>
        <c:minorTickMark val="none"/>
        <c:tickLblPos val="nextTo"/>
        <c:crossAx val="1137489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022081538337904E-2"/>
          <c:y val="6.8366845848015056E-2"/>
          <c:w val="0.9322818097438782"/>
          <c:h val="0.7950513887800615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</c:dPt>
          <c:dPt>
            <c:idx val="1"/>
            <c:invertIfNegative val="0"/>
            <c:bubble3D val="0"/>
            <c:spPr>
              <a:solidFill>
                <a:srgbClr val="99CC00"/>
              </a:solidFill>
            </c:spPr>
          </c:dPt>
          <c:dPt>
            <c:idx val="2"/>
            <c:invertIfNegative val="0"/>
            <c:bubble3D val="0"/>
            <c:spPr>
              <a:solidFill>
                <a:schemeClr val="bg2"/>
              </a:solidFill>
            </c:spPr>
          </c:dPt>
          <c:cat>
            <c:strRef>
              <c:f>Лист1!$A$2:$A$4</c:f>
              <c:strCache>
                <c:ptCount val="3"/>
                <c:pt idx="0">
                  <c:v>Производство</c:v>
                </c:pt>
                <c:pt idx="1">
                  <c:v>Потребление</c:v>
                </c:pt>
                <c:pt idx="2">
                  <c:v>Нетто-Экспор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858</c:v>
                </c:pt>
                <c:pt idx="1">
                  <c:v>-105</c:v>
                </c:pt>
                <c:pt idx="2">
                  <c:v>-10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2</c:v>
                </c:pt>
              </c:strCache>
            </c:strRef>
          </c:tx>
          <c:spPr>
            <a:solidFill>
              <a:srgbClr val="99CC00"/>
            </a:solidFill>
          </c:spPr>
          <c:invertIfNegative val="0"/>
          <c:cat>
            <c:strRef>
              <c:f>Лист1!$A$2:$A$4</c:f>
              <c:strCache>
                <c:ptCount val="3"/>
                <c:pt idx="0">
                  <c:v>Производство</c:v>
                </c:pt>
                <c:pt idx="1">
                  <c:v>Потребление</c:v>
                </c:pt>
                <c:pt idx="2">
                  <c:v>Нетто-Экспор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1">
                  <c:v>85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3813376"/>
        <c:axId val="113814912"/>
      </c:barChart>
      <c:catAx>
        <c:axId val="1138133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 sz="600"/>
            </a:pPr>
            <a:endParaRPr lang="ru-RU"/>
          </a:p>
        </c:txPr>
        <c:crossAx val="113814912"/>
        <c:crosses val="autoZero"/>
        <c:auto val="1"/>
        <c:lblAlgn val="ctr"/>
        <c:lblOffset val="100"/>
        <c:noMultiLvlLbl val="0"/>
      </c:catAx>
      <c:valAx>
        <c:axId val="113814912"/>
        <c:scaling>
          <c:orientation val="minMax"/>
          <c:max val="6000"/>
          <c:min val="-1000"/>
        </c:scaling>
        <c:delete val="0"/>
        <c:axPos val="l"/>
        <c:numFmt formatCode="General" sourceLinked="1"/>
        <c:majorTickMark val="out"/>
        <c:minorTickMark val="none"/>
        <c:tickLblPos val="nextTo"/>
        <c:crossAx val="1138133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022081538337904E-2"/>
          <c:y val="6.8366845848015056E-2"/>
          <c:w val="0.9322818097438782"/>
          <c:h val="0.7950513887800615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</c:dPt>
          <c:dPt>
            <c:idx val="1"/>
            <c:invertIfNegative val="0"/>
            <c:bubble3D val="0"/>
            <c:spPr>
              <a:noFill/>
            </c:spPr>
          </c:dPt>
          <c:dPt>
            <c:idx val="2"/>
            <c:invertIfNegative val="0"/>
            <c:bubble3D val="0"/>
            <c:spPr>
              <a:solidFill>
                <a:schemeClr val="bg2"/>
              </a:solidFill>
            </c:spPr>
          </c:dPt>
          <c:cat>
            <c:strRef>
              <c:f>Лист1!$A$2:$A$4</c:f>
              <c:strCache>
                <c:ptCount val="3"/>
                <c:pt idx="0">
                  <c:v>Производство</c:v>
                </c:pt>
                <c:pt idx="1">
                  <c:v>Потребление</c:v>
                </c:pt>
                <c:pt idx="2">
                  <c:v>Нетто-Экспор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340</c:v>
                </c:pt>
                <c:pt idx="1">
                  <c:v>2447</c:v>
                </c:pt>
                <c:pt idx="2">
                  <c:v>244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2</c:v>
                </c:pt>
              </c:strCache>
            </c:strRef>
          </c:tx>
          <c:spPr>
            <a:solidFill>
              <a:srgbClr val="99CC00"/>
            </a:solidFill>
          </c:spPr>
          <c:invertIfNegative val="0"/>
          <c:cat>
            <c:strRef>
              <c:f>Лист1!$A$2:$A$4</c:f>
              <c:strCache>
                <c:ptCount val="3"/>
                <c:pt idx="0">
                  <c:v>Производство</c:v>
                </c:pt>
                <c:pt idx="1">
                  <c:v>Потребление</c:v>
                </c:pt>
                <c:pt idx="2">
                  <c:v>Нетто-Экспор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1">
                  <c:v>289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6691712"/>
        <c:axId val="116693248"/>
      </c:barChart>
      <c:catAx>
        <c:axId val="1166917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 sz="600"/>
            </a:pPr>
            <a:endParaRPr lang="ru-RU"/>
          </a:p>
        </c:txPr>
        <c:crossAx val="116693248"/>
        <c:crosses val="autoZero"/>
        <c:auto val="1"/>
        <c:lblAlgn val="ctr"/>
        <c:lblOffset val="100"/>
        <c:noMultiLvlLbl val="0"/>
      </c:catAx>
      <c:valAx>
        <c:axId val="116693248"/>
        <c:scaling>
          <c:orientation val="minMax"/>
          <c:max val="6000"/>
          <c:min val="-1000"/>
        </c:scaling>
        <c:delete val="1"/>
        <c:axPos val="l"/>
        <c:numFmt formatCode="General" sourceLinked="1"/>
        <c:majorTickMark val="out"/>
        <c:minorTickMark val="none"/>
        <c:tickLblPos val="nextTo"/>
        <c:crossAx val="1166917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022081538337904E-2"/>
          <c:y val="6.8366845848015056E-2"/>
          <c:w val="0.9322818097438782"/>
          <c:h val="0.9241887642707565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</c:dPt>
          <c:dPt>
            <c:idx val="1"/>
            <c:invertIfNegative val="0"/>
            <c:bubble3D val="0"/>
            <c:spPr>
              <a:solidFill>
                <a:srgbClr val="99CC00"/>
              </a:solidFill>
            </c:spPr>
          </c:dPt>
          <c:dPt>
            <c:idx val="2"/>
            <c:invertIfNegative val="0"/>
            <c:bubble3D val="0"/>
            <c:spPr>
              <a:solidFill>
                <a:schemeClr val="bg2"/>
              </a:solidFill>
            </c:spPr>
          </c:dPt>
          <c:cat>
            <c:strRef>
              <c:f>Лист1!$A$2:$A$4</c:f>
              <c:strCache>
                <c:ptCount val="3"/>
                <c:pt idx="0">
                  <c:v>Производство</c:v>
                </c:pt>
                <c:pt idx="1">
                  <c:v>Потребление</c:v>
                </c:pt>
                <c:pt idx="2">
                  <c:v>Нетто-Экспор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621</c:v>
                </c:pt>
                <c:pt idx="1">
                  <c:v>-482</c:v>
                </c:pt>
                <c:pt idx="2">
                  <c:v>-48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2</c:v>
                </c:pt>
              </c:strCache>
            </c:strRef>
          </c:tx>
          <c:spPr>
            <a:solidFill>
              <a:srgbClr val="99CC00"/>
            </a:solidFill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Производство</c:v>
                </c:pt>
                <c:pt idx="1">
                  <c:v>Потребление</c:v>
                </c:pt>
                <c:pt idx="2">
                  <c:v>Нетто-Экспор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1">
                  <c:v>62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4892800"/>
        <c:axId val="114894336"/>
      </c:barChart>
      <c:catAx>
        <c:axId val="1148928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 sz="600"/>
            </a:pPr>
            <a:endParaRPr lang="ru-RU"/>
          </a:p>
        </c:txPr>
        <c:crossAx val="114894336"/>
        <c:crosses val="autoZero"/>
        <c:auto val="1"/>
        <c:lblAlgn val="ctr"/>
        <c:lblOffset val="100"/>
        <c:noMultiLvlLbl val="0"/>
      </c:catAx>
      <c:valAx>
        <c:axId val="114894336"/>
        <c:scaling>
          <c:orientation val="minMax"/>
          <c:max val="3000"/>
          <c:min val="-1000"/>
        </c:scaling>
        <c:delete val="0"/>
        <c:axPos val="l"/>
        <c:numFmt formatCode="General" sourceLinked="1"/>
        <c:majorTickMark val="out"/>
        <c:minorTickMark val="none"/>
        <c:tickLblPos val="nextTo"/>
        <c:crossAx val="1148928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022081538337904E-2"/>
          <c:y val="6.8366845848015056E-2"/>
          <c:w val="0.9322818097438782"/>
          <c:h val="0.9316330598957106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</c:dPt>
          <c:dPt>
            <c:idx val="1"/>
            <c:invertIfNegative val="0"/>
            <c:bubble3D val="0"/>
            <c:spPr>
              <a:solidFill>
                <a:srgbClr val="99CC00"/>
              </a:solidFill>
            </c:spPr>
          </c:dPt>
          <c:dPt>
            <c:idx val="2"/>
            <c:invertIfNegative val="0"/>
            <c:bubble3D val="0"/>
            <c:spPr>
              <a:solidFill>
                <a:schemeClr val="bg2"/>
              </a:solidFill>
            </c:spPr>
          </c:dPt>
          <c:cat>
            <c:strRef>
              <c:f>Лист1!$A$2:$A$4</c:f>
              <c:strCache>
                <c:ptCount val="3"/>
                <c:pt idx="0">
                  <c:v>Производство</c:v>
                </c:pt>
                <c:pt idx="1">
                  <c:v>Потребление</c:v>
                </c:pt>
                <c:pt idx="2">
                  <c:v>Нетто-Экспор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247</c:v>
                </c:pt>
                <c:pt idx="1">
                  <c:v>-69</c:v>
                </c:pt>
                <c:pt idx="2">
                  <c:v>-6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2</c:v>
                </c:pt>
              </c:strCache>
            </c:strRef>
          </c:tx>
          <c:spPr>
            <a:solidFill>
              <a:srgbClr val="99CC00"/>
            </a:solidFill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Производство</c:v>
                </c:pt>
                <c:pt idx="1">
                  <c:v>Потребление</c:v>
                </c:pt>
                <c:pt idx="2">
                  <c:v>Нетто-Экспор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1">
                  <c:v>224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4932736"/>
        <c:axId val="114938624"/>
      </c:barChart>
      <c:catAx>
        <c:axId val="1149327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 sz="600"/>
            </a:pPr>
            <a:endParaRPr lang="ru-RU"/>
          </a:p>
        </c:txPr>
        <c:crossAx val="114938624"/>
        <c:crosses val="autoZero"/>
        <c:auto val="1"/>
        <c:lblAlgn val="ctr"/>
        <c:lblOffset val="100"/>
        <c:noMultiLvlLbl val="0"/>
      </c:catAx>
      <c:valAx>
        <c:axId val="114938624"/>
        <c:scaling>
          <c:orientation val="minMax"/>
          <c:max val="3000"/>
          <c:min val="-1000"/>
        </c:scaling>
        <c:delete val="1"/>
        <c:axPos val="l"/>
        <c:numFmt formatCode="General" sourceLinked="1"/>
        <c:majorTickMark val="out"/>
        <c:minorTickMark val="none"/>
        <c:tickLblPos val="nextTo"/>
        <c:crossAx val="1149327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022081538337904E-2"/>
          <c:y val="6.8366845848015056E-2"/>
          <c:w val="0.9322818097438782"/>
          <c:h val="0.7646661239587214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</c:dPt>
          <c:dPt>
            <c:idx val="1"/>
            <c:invertIfNegative val="0"/>
            <c:bubble3D val="0"/>
            <c:spPr>
              <a:solidFill>
                <a:srgbClr val="99CC00"/>
              </a:solidFill>
            </c:spPr>
          </c:dPt>
          <c:dPt>
            <c:idx val="2"/>
            <c:invertIfNegative val="0"/>
            <c:bubble3D val="0"/>
            <c:spPr>
              <a:solidFill>
                <a:schemeClr val="bg2"/>
              </a:solidFill>
            </c:spPr>
          </c:dPt>
          <c:cat>
            <c:strRef>
              <c:f>Лист1!$A$2:$A$4</c:f>
              <c:strCache>
                <c:ptCount val="3"/>
                <c:pt idx="0">
                  <c:v>Производство</c:v>
                </c:pt>
                <c:pt idx="1">
                  <c:v>Потребление</c:v>
                </c:pt>
                <c:pt idx="2">
                  <c:v>Нетто-Экспор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424</c:v>
                </c:pt>
                <c:pt idx="1">
                  <c:v>-69</c:v>
                </c:pt>
                <c:pt idx="2">
                  <c:v>-6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2</c:v>
                </c:pt>
              </c:strCache>
            </c:strRef>
          </c:tx>
          <c:spPr>
            <a:solidFill>
              <a:srgbClr val="99CC00"/>
            </a:solidFill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Производство</c:v>
                </c:pt>
                <c:pt idx="1">
                  <c:v>Потребление</c:v>
                </c:pt>
                <c:pt idx="2">
                  <c:v>Нетто-Экспор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1">
                  <c:v>4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7881088"/>
        <c:axId val="118226944"/>
      </c:barChart>
      <c:catAx>
        <c:axId val="1178810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 sz="600"/>
            </a:pPr>
            <a:endParaRPr lang="ru-RU"/>
          </a:p>
        </c:txPr>
        <c:crossAx val="118226944"/>
        <c:crosses val="autoZero"/>
        <c:auto val="1"/>
        <c:lblAlgn val="ctr"/>
        <c:lblOffset val="100"/>
        <c:noMultiLvlLbl val="0"/>
      </c:catAx>
      <c:valAx>
        <c:axId val="118226944"/>
        <c:scaling>
          <c:orientation val="minMax"/>
          <c:max val="1500"/>
          <c:min val="-1500"/>
        </c:scaling>
        <c:delete val="0"/>
        <c:axPos val="l"/>
        <c:numFmt formatCode="General" sourceLinked="1"/>
        <c:majorTickMark val="out"/>
        <c:minorTickMark val="none"/>
        <c:tickLblPos val="nextTo"/>
        <c:crossAx val="11788108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/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022081538337904E-2"/>
          <c:y val="6.8366845848015056E-2"/>
          <c:w val="0.9322818097438782"/>
          <c:h val="0.7646661239587214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</c:dPt>
          <c:dPt>
            <c:idx val="1"/>
            <c:invertIfNegative val="0"/>
            <c:bubble3D val="0"/>
            <c:spPr>
              <a:solidFill>
                <a:srgbClr val="99CC00"/>
              </a:solidFill>
            </c:spPr>
          </c:dPt>
          <c:dPt>
            <c:idx val="2"/>
            <c:invertIfNegative val="0"/>
            <c:bubble3D val="0"/>
            <c:spPr>
              <a:solidFill>
                <a:schemeClr val="bg2"/>
              </a:solidFill>
            </c:spPr>
          </c:dPt>
          <c:cat>
            <c:strRef>
              <c:f>Лист1!$A$2:$A$4</c:f>
              <c:strCache>
                <c:ptCount val="3"/>
                <c:pt idx="0">
                  <c:v>Производство</c:v>
                </c:pt>
                <c:pt idx="1">
                  <c:v>Потребление</c:v>
                </c:pt>
                <c:pt idx="2">
                  <c:v>Нетто-Экспор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886</c:v>
                </c:pt>
                <c:pt idx="1">
                  <c:v>-496</c:v>
                </c:pt>
                <c:pt idx="2">
                  <c:v>-49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2</c:v>
                </c:pt>
              </c:strCache>
            </c:strRef>
          </c:tx>
          <c:spPr>
            <a:solidFill>
              <a:srgbClr val="99CC00"/>
            </a:solidFill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Производство</c:v>
                </c:pt>
                <c:pt idx="1">
                  <c:v>Потребление</c:v>
                </c:pt>
                <c:pt idx="2">
                  <c:v>Нетто-Экспор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1">
                  <c:v>88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8244864"/>
        <c:axId val="118246400"/>
      </c:barChart>
      <c:catAx>
        <c:axId val="1182448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 sz="600"/>
            </a:pPr>
            <a:endParaRPr lang="ru-RU"/>
          </a:p>
        </c:txPr>
        <c:crossAx val="118246400"/>
        <c:crosses val="autoZero"/>
        <c:auto val="1"/>
        <c:lblAlgn val="ctr"/>
        <c:lblOffset val="100"/>
        <c:noMultiLvlLbl val="0"/>
      </c:catAx>
      <c:valAx>
        <c:axId val="118246400"/>
        <c:scaling>
          <c:orientation val="minMax"/>
          <c:max val="1500"/>
          <c:min val="-1500"/>
        </c:scaling>
        <c:delete val="1"/>
        <c:axPos val="l"/>
        <c:numFmt formatCode="General" sourceLinked="1"/>
        <c:majorTickMark val="out"/>
        <c:minorTickMark val="none"/>
        <c:tickLblPos val="nextTo"/>
        <c:crossAx val="118244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/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022081538337904E-2"/>
          <c:y val="6.8366845848015056E-2"/>
          <c:w val="0.9322818097438782"/>
          <c:h val="0.7950513887800615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</c:spPr>
          </c:dPt>
          <c:dPt>
            <c:idx val="1"/>
            <c:invertIfNegative val="0"/>
            <c:bubble3D val="0"/>
            <c:spPr>
              <a:noFill/>
            </c:spPr>
          </c:dPt>
          <c:dPt>
            <c:idx val="2"/>
            <c:invertIfNegative val="0"/>
            <c:bubble3D val="0"/>
            <c:spPr>
              <a:solidFill>
                <a:schemeClr val="bg2"/>
              </a:solidFill>
            </c:spPr>
          </c:dPt>
          <c:cat>
            <c:strRef>
              <c:f>Лист1!$A$2:$A$4</c:f>
              <c:strCache>
                <c:ptCount val="3"/>
                <c:pt idx="0">
                  <c:v>Производство</c:v>
                </c:pt>
                <c:pt idx="1">
                  <c:v>Потребление</c:v>
                </c:pt>
                <c:pt idx="2">
                  <c:v>Нетто-Экспор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583</c:v>
                </c:pt>
                <c:pt idx="1">
                  <c:v>697</c:v>
                </c:pt>
                <c:pt idx="2">
                  <c:v>69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2</c:v>
                </c:pt>
              </c:strCache>
            </c:strRef>
          </c:tx>
          <c:spPr>
            <a:solidFill>
              <a:srgbClr val="99CC00"/>
            </a:solidFill>
          </c:spPr>
          <c:invertIfNegative val="0"/>
          <c:cat>
            <c:strRef>
              <c:f>Лист1!$A$2:$A$4</c:f>
              <c:strCache>
                <c:ptCount val="3"/>
                <c:pt idx="0">
                  <c:v>Производство</c:v>
                </c:pt>
                <c:pt idx="1">
                  <c:v>Потребление</c:v>
                </c:pt>
                <c:pt idx="2">
                  <c:v>Нетто-Экспорт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1">
                  <c:v>88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8280576"/>
        <c:axId val="118282112"/>
      </c:barChart>
      <c:catAx>
        <c:axId val="1182805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 sz="600"/>
            </a:pPr>
            <a:endParaRPr lang="ru-RU"/>
          </a:p>
        </c:txPr>
        <c:crossAx val="118282112"/>
        <c:crosses val="autoZero"/>
        <c:auto val="1"/>
        <c:lblAlgn val="ctr"/>
        <c:lblOffset val="100"/>
        <c:noMultiLvlLbl val="0"/>
      </c:catAx>
      <c:valAx>
        <c:axId val="118282112"/>
        <c:scaling>
          <c:orientation val="minMax"/>
          <c:max val="2000"/>
          <c:min val="-1000"/>
        </c:scaling>
        <c:delete val="1"/>
        <c:axPos val="l"/>
        <c:numFmt formatCode="General" sourceLinked="1"/>
        <c:majorTickMark val="out"/>
        <c:minorTickMark val="none"/>
        <c:tickLblPos val="nextTo"/>
        <c:crossAx val="1182805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8.v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7" Type="http://schemas.openxmlformats.org/officeDocument/2006/relationships/image" Target="../media/image27.emf"/><Relationship Id="rId2" Type="http://schemas.openxmlformats.org/officeDocument/2006/relationships/image" Target="../media/image22.emf"/><Relationship Id="rId1" Type="http://schemas.openxmlformats.org/officeDocument/2006/relationships/image" Target="../media/image6.emf"/><Relationship Id="rId6" Type="http://schemas.openxmlformats.org/officeDocument/2006/relationships/image" Target="../media/image26.emf"/><Relationship Id="rId5" Type="http://schemas.openxmlformats.org/officeDocument/2006/relationships/image" Target="../media/image25.emf"/><Relationship Id="rId4" Type="http://schemas.openxmlformats.org/officeDocument/2006/relationships/image" Target="../media/image2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511731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511731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86848466-7FFF-484D-BBBF-1834ED0370A8}" type="datetimeFigureOut">
              <a:rPr lang="ru-RU" smtClean="0"/>
              <a:t>11.02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81050" y="768350"/>
            <a:ext cx="554037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66" tIns="49533" rIns="99066" bIns="49533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10248" y="4861441"/>
            <a:ext cx="5681980" cy="4605576"/>
          </a:xfrm>
          <a:prstGeom prst="rect">
            <a:avLst/>
          </a:prstGeom>
        </p:spPr>
        <p:txBody>
          <a:bodyPr vert="horz" lIns="99066" tIns="49533" rIns="99066" bIns="49533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7739" cy="511731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4023092" y="9721106"/>
            <a:ext cx="3077739" cy="511731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fld id="{63B391F2-F3F0-4D9B-B120-ED7D1CB624D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247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0" algn="l" defTabSz="9142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2" algn="l" defTabSz="9142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0" algn="l" defTabSz="9142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0" algn="l" defTabSz="9142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2" algn="l" defTabSz="9142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1" algn="l" defTabSz="9142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11" algn="l" defTabSz="9142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42" algn="l" defTabSz="9142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9463" y="765175"/>
            <a:ext cx="5557837" cy="38496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6647586" y="9797828"/>
            <a:ext cx="310892" cy="297354"/>
          </a:xfrm>
        </p:spPr>
        <p:txBody>
          <a:bodyPr/>
          <a:lstStyle/>
          <a:p>
            <a:pPr>
              <a:defRPr/>
            </a:pPr>
            <a:fld id="{F49B0DDF-86CF-43A5-BB7F-964BED988CF3}" type="slidenum">
              <a:rPr lang="ru-RU" sz="100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1</a:t>
            </a:fld>
            <a:endParaRPr lang="ru-RU" sz="1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Нижний колонтитул 6"/>
          <p:cNvSpPr txBox="1">
            <a:spLocks/>
          </p:cNvSpPr>
          <p:nvPr/>
        </p:nvSpPr>
        <p:spPr bwMode="auto">
          <a:xfrm>
            <a:off x="1991533" y="319"/>
            <a:ext cx="3071878" cy="2924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1993" tIns="50996" rIns="101993" bIns="50996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defTabSz="1028591" rtl="0" fontAlgn="base">
              <a:spcBef>
                <a:spcPct val="0"/>
              </a:spcBef>
              <a:spcAft>
                <a:spcPct val="0"/>
              </a:spcAft>
              <a:defRPr sz="13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3680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7361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1042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472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84039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20845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57651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4460" algn="l" defTabSz="873614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900" b="1" dirty="0"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t>CONFIDENTIAL</a:t>
            </a:r>
            <a:endParaRPr lang="ru-RU" sz="900" b="1"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7134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3.pn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vmlDrawing" Target="../drawings/vmlDrawing28.v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vmlDrawing" Target="../drawings/vmlDrawing29.v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3.png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hemeOverride" Target="../theme/themeOverride15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3.xml"/><Relationship Id="rId1" Type="http://schemas.openxmlformats.org/officeDocument/2006/relationships/themeOverride" Target="../theme/themeOverride16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4.jpeg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4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vmlDrawing" Target="../drawings/vmlDrawing9.v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vmlDrawing" Target="../drawings/vmlDrawing3.v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vmlDrawing" Target="../drawings/vmlDrawing12.v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vmlDrawing" Target="../drawings/vmlDrawing13.v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vmlDrawing" Target="../drawings/vmlDrawing16.v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vmlDrawing" Target="../drawings/vmlDrawing17.v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9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10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1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1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4.jpeg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63123246"/>
              </p:ext>
            </p:extLst>
          </p:nvPr>
        </p:nvGraphicFramePr>
        <p:xfrm>
          <a:off x="1644" y="1650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4" y="1650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683" y="286641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2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384998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Line 15"/>
          <p:cNvSpPr>
            <a:spLocks noChangeShapeType="1"/>
          </p:cNvSpPr>
          <p:nvPr/>
        </p:nvSpPr>
        <p:spPr bwMode="auto">
          <a:xfrm>
            <a:off x="9013022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46" tIns="43675" rIns="87346" bIns="43675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8250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61" y="185739"/>
            <a:ext cx="7702947" cy="62706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95300" y="1397004"/>
            <a:ext cx="8915400" cy="4733926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6278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73"/>
            <a:ext cx="8420100" cy="1362076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30" indent="0">
              <a:buNone/>
              <a:defRPr sz="1800"/>
            </a:lvl2pPr>
            <a:lvl3pPr marL="914262" indent="0">
              <a:buNone/>
              <a:defRPr sz="1600"/>
            </a:lvl3pPr>
            <a:lvl4pPr marL="1371390" indent="0">
              <a:buNone/>
              <a:defRPr sz="1400"/>
            </a:lvl4pPr>
            <a:lvl5pPr marL="1828520" indent="0">
              <a:buNone/>
              <a:defRPr sz="1400"/>
            </a:lvl5pPr>
            <a:lvl6pPr marL="2285652" indent="0">
              <a:buNone/>
              <a:defRPr sz="1400"/>
            </a:lvl6pPr>
            <a:lvl7pPr marL="2742781" indent="0">
              <a:buNone/>
              <a:defRPr sz="1400"/>
            </a:lvl7pPr>
            <a:lvl8pPr marL="3199911" indent="0">
              <a:buNone/>
              <a:defRPr sz="1400"/>
            </a:lvl8pPr>
            <a:lvl9pPr marL="3657042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091257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3643" y="396249"/>
            <a:ext cx="1820065" cy="532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4D1E8E-17D7-498E-AA07-835C8E7A4240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59" y="4929983"/>
            <a:ext cx="9902943" cy="192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1478" y="597068"/>
            <a:ext cx="73379" cy="3072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784" y="1308584"/>
            <a:ext cx="8420100" cy="136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580" tIns="47791" rIns="95580" bIns="47791" anchor="ctr"/>
          <a:lstStyle>
            <a:lvl1pPr algn="l" defTabSz="956155" rtl="0" fontAlgn="base">
              <a:spcBef>
                <a:spcPct val="0"/>
              </a:spcBef>
              <a:spcAft>
                <a:spcPct val="0"/>
              </a:spcAft>
              <a:defRPr lang="ru-RU" sz="3400" b="1" kern="1200" dirty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8784" y="2721643"/>
            <a:ext cx="8420100" cy="83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580" tIns="47791" rIns="95580" bIns="47791" anchor="t" anchorCtr="0"/>
          <a:lstStyle>
            <a:lvl1pPr marL="0" indent="0" algn="l" defTabSz="956155" rtl="0" fontAlgn="base">
              <a:spcBef>
                <a:spcPct val="0"/>
              </a:spcBef>
              <a:spcAft>
                <a:spcPct val="0"/>
              </a:spcAft>
              <a:buNone/>
              <a:defRPr lang="en-US" sz="2300" b="1" i="1" kern="1200" dirty="0" smtClean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  <a:lvl2pPr marL="436409" indent="0">
              <a:buNone/>
              <a:defRPr sz="1700"/>
            </a:lvl2pPr>
            <a:lvl3pPr marL="872815" indent="0">
              <a:buNone/>
              <a:defRPr sz="1500"/>
            </a:lvl3pPr>
            <a:lvl4pPr marL="1309222" indent="0">
              <a:buNone/>
              <a:defRPr sz="1400"/>
            </a:lvl4pPr>
            <a:lvl5pPr marL="1745635" indent="0">
              <a:buNone/>
              <a:defRPr sz="1400"/>
            </a:lvl5pPr>
            <a:lvl6pPr marL="2182038" indent="0">
              <a:buNone/>
              <a:defRPr sz="1400"/>
            </a:lvl6pPr>
            <a:lvl7pPr marL="2618446" indent="0">
              <a:buNone/>
              <a:defRPr sz="1400"/>
            </a:lvl7pPr>
            <a:lvl8pPr marL="3054850" indent="0">
              <a:buNone/>
              <a:defRPr sz="1400"/>
            </a:lvl8pPr>
            <a:lvl9pPr marL="3491260" indent="0">
              <a:buNone/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30830" y="4705919"/>
            <a:ext cx="2039229" cy="3498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buNone/>
              <a:defRPr lang="ru-RU" sz="17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3478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56511" y="6400931"/>
            <a:ext cx="807156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589" tIns="47794" rIns="95589" bIns="47794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pPr>
              <a:defRPr/>
            </a:pPr>
            <a:fld id="{62904C63-2B24-46AF-B25E-66CB8A4EF8F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55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008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484682"/>
              </p:ext>
            </p:extLst>
          </p:nvPr>
        </p:nvGraphicFramePr>
        <p:xfrm>
          <a:off x="1656" y="1595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25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56" y="1595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55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3257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B50031-0E1C-4B01-8CDA-AD1DD1D4619A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55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6116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lIns="95698" tIns="47851" rIns="95698" bIns="47851"/>
          <a:lstStyle>
            <a:lvl1pPr algn="l">
              <a:defRPr sz="18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8DE6EC-471B-4DBC-BA50-472EFF704252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166212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56511" y="6400938"/>
            <a:ext cx="807156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589" tIns="47794" rIns="95589" bIns="47794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pPr>
              <a:defRPr/>
            </a:pPr>
            <a:fld id="{62904C63-2B24-46AF-B25E-66CB8A4EF8F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55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6348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55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75348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55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1" y="6400931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76060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15"/>
          <p:cNvSpPr>
            <a:spLocks noChangeShapeType="1"/>
          </p:cNvSpPr>
          <p:nvPr/>
        </p:nvSpPr>
        <p:spPr bwMode="auto">
          <a:xfrm>
            <a:off x="9013022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46" tIns="43675" rIns="87346" bIns="43675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6" name="Picture 2" descr="C:\Documents and Settings\BelovaDV\Мои документы\Мои рисунки\лого_SIBUR_new_E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69" y="6491436"/>
            <a:ext cx="102375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8835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55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1" y="6400931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0583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55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1" y="6400931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30913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55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1" y="6400931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60117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1" y="6400931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75317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1" y="6400926"/>
            <a:ext cx="807156" cy="31282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4D1E8E-17D7-498E-AA07-835C8E7A424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59" y="4929978"/>
            <a:ext cx="9902943" cy="192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1478" y="597068"/>
            <a:ext cx="73379" cy="3072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784" y="1308584"/>
            <a:ext cx="8420100" cy="136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580" tIns="47791" rIns="95580" bIns="47791" anchor="ctr"/>
          <a:lstStyle>
            <a:lvl1pPr algn="l" defTabSz="956155" rtl="0" fontAlgn="base">
              <a:spcBef>
                <a:spcPct val="0"/>
              </a:spcBef>
              <a:spcAft>
                <a:spcPct val="0"/>
              </a:spcAft>
              <a:defRPr lang="ru-RU" sz="3400" b="1" kern="1200" dirty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8784" y="2721638"/>
            <a:ext cx="8420100" cy="83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580" tIns="47791" rIns="95580" bIns="47791" anchor="t" anchorCtr="0"/>
          <a:lstStyle>
            <a:lvl1pPr marL="0" indent="0" algn="l" defTabSz="956155" rtl="0" fontAlgn="base">
              <a:spcBef>
                <a:spcPct val="0"/>
              </a:spcBef>
              <a:spcAft>
                <a:spcPct val="0"/>
              </a:spcAft>
              <a:buNone/>
              <a:defRPr lang="en-US" sz="2300" b="1" i="1" kern="1200" dirty="0" smtClean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  <a:lvl2pPr marL="436409" indent="0">
              <a:buNone/>
              <a:defRPr sz="1700"/>
            </a:lvl2pPr>
            <a:lvl3pPr marL="872815" indent="0">
              <a:buNone/>
              <a:defRPr sz="1500"/>
            </a:lvl3pPr>
            <a:lvl4pPr marL="1309222" indent="0">
              <a:buNone/>
              <a:defRPr sz="1400"/>
            </a:lvl4pPr>
            <a:lvl5pPr marL="1745635" indent="0">
              <a:buNone/>
              <a:defRPr sz="1400"/>
            </a:lvl5pPr>
            <a:lvl6pPr marL="2182038" indent="0">
              <a:buNone/>
              <a:defRPr sz="1400"/>
            </a:lvl6pPr>
            <a:lvl7pPr marL="2618446" indent="0">
              <a:buNone/>
              <a:defRPr sz="1400"/>
            </a:lvl7pPr>
            <a:lvl8pPr marL="3054850" indent="0">
              <a:buNone/>
              <a:defRPr sz="1400"/>
            </a:lvl8pPr>
            <a:lvl9pPr marL="3491260" indent="0">
              <a:buNone/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30830" y="4705919"/>
            <a:ext cx="2039229" cy="3498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buNone/>
              <a:defRPr lang="ru-RU" sz="17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5596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267745" y="286502"/>
            <a:ext cx="6765247" cy="379052"/>
          </a:xfrm>
          <a:prstGeom prst="rect">
            <a:avLst/>
          </a:prstGeom>
          <a:noFill/>
        </p:spPr>
        <p:txBody>
          <a:bodyPr lIns="87382" tIns="43691" rIns="87382" bIns="43691"/>
          <a:lstStyle/>
          <a:p>
            <a:pPr defTabSz="95615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kern="0" dirty="0">
                <a:solidFill>
                  <a:srgbClr val="008080"/>
                </a:solidFill>
              </a:rPr>
              <a:t>  AGENDA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1" y="6400931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79712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683" y="28655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1" y="6400931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42366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1" y="6400920"/>
            <a:ext cx="807156" cy="31282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4D1E8E-17D7-498E-AA07-835C8E7A424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59" y="4929972"/>
            <a:ext cx="9902943" cy="192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1478" y="597068"/>
            <a:ext cx="73379" cy="3072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784" y="1308584"/>
            <a:ext cx="8420100" cy="136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580" tIns="47791" rIns="95580" bIns="47791" anchor="ctr"/>
          <a:lstStyle>
            <a:lvl1pPr algn="l" defTabSz="956155" rtl="0" fontAlgn="base">
              <a:spcBef>
                <a:spcPct val="0"/>
              </a:spcBef>
              <a:spcAft>
                <a:spcPct val="0"/>
              </a:spcAft>
              <a:defRPr lang="ru-RU" sz="3400" b="1" kern="1200" dirty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8784" y="2721632"/>
            <a:ext cx="8420100" cy="83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580" tIns="47791" rIns="95580" bIns="47791" anchor="t" anchorCtr="0"/>
          <a:lstStyle>
            <a:lvl1pPr marL="0" indent="0" algn="l" defTabSz="956155" rtl="0" fontAlgn="base">
              <a:spcBef>
                <a:spcPct val="0"/>
              </a:spcBef>
              <a:spcAft>
                <a:spcPct val="0"/>
              </a:spcAft>
              <a:buNone/>
              <a:defRPr lang="en-US" sz="2300" b="1" i="1" kern="1200" dirty="0" smtClean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  <a:lvl2pPr marL="436409" indent="0">
              <a:buNone/>
              <a:defRPr sz="1700"/>
            </a:lvl2pPr>
            <a:lvl3pPr marL="872815" indent="0">
              <a:buNone/>
              <a:defRPr sz="1500"/>
            </a:lvl3pPr>
            <a:lvl4pPr marL="1309222" indent="0">
              <a:buNone/>
              <a:defRPr sz="1400"/>
            </a:lvl4pPr>
            <a:lvl5pPr marL="1745635" indent="0">
              <a:buNone/>
              <a:defRPr sz="1400"/>
            </a:lvl5pPr>
            <a:lvl6pPr marL="2182038" indent="0">
              <a:buNone/>
              <a:defRPr sz="1400"/>
            </a:lvl6pPr>
            <a:lvl7pPr marL="2618446" indent="0">
              <a:buNone/>
              <a:defRPr sz="1400"/>
            </a:lvl7pPr>
            <a:lvl8pPr marL="3054850" indent="0">
              <a:buNone/>
              <a:defRPr sz="1400"/>
            </a:lvl8pPr>
            <a:lvl9pPr marL="3491260" indent="0">
              <a:buNone/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30830" y="4705913"/>
            <a:ext cx="2039229" cy="3498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buNone/>
              <a:defRPr lang="ru-RU" sz="17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4461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55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1" y="6400931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3537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55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1" y="6400931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79861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17338" y="97738"/>
            <a:ext cx="8993363" cy="599793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2441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55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1" y="6400931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83930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55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1" y="6400931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87454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1" y="6400914"/>
            <a:ext cx="807156" cy="31282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4D1E8E-17D7-498E-AA07-835C8E7A424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59" y="4929966"/>
            <a:ext cx="9902943" cy="192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1478" y="597068"/>
            <a:ext cx="73379" cy="3072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784" y="1308584"/>
            <a:ext cx="8420100" cy="136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580" tIns="47791" rIns="95580" bIns="47791" anchor="ctr"/>
          <a:lstStyle>
            <a:lvl1pPr algn="l" defTabSz="956155" rtl="0" fontAlgn="base">
              <a:spcBef>
                <a:spcPct val="0"/>
              </a:spcBef>
              <a:spcAft>
                <a:spcPct val="0"/>
              </a:spcAft>
              <a:defRPr lang="ru-RU" sz="3400" b="1" kern="1200" dirty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8784" y="2721626"/>
            <a:ext cx="8420100" cy="83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580" tIns="47791" rIns="95580" bIns="47791" anchor="t" anchorCtr="0"/>
          <a:lstStyle>
            <a:lvl1pPr marL="0" indent="0" algn="l" defTabSz="956155" rtl="0" fontAlgn="base">
              <a:spcBef>
                <a:spcPct val="0"/>
              </a:spcBef>
              <a:spcAft>
                <a:spcPct val="0"/>
              </a:spcAft>
              <a:buNone/>
              <a:defRPr lang="en-US" sz="2300" b="1" i="1" kern="1200" dirty="0" smtClean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  <a:lvl2pPr marL="436409" indent="0">
              <a:buNone/>
              <a:defRPr sz="1700"/>
            </a:lvl2pPr>
            <a:lvl3pPr marL="872815" indent="0">
              <a:buNone/>
              <a:defRPr sz="1500"/>
            </a:lvl3pPr>
            <a:lvl4pPr marL="1309222" indent="0">
              <a:buNone/>
              <a:defRPr sz="1400"/>
            </a:lvl4pPr>
            <a:lvl5pPr marL="1745635" indent="0">
              <a:buNone/>
              <a:defRPr sz="1400"/>
            </a:lvl5pPr>
            <a:lvl6pPr marL="2182038" indent="0">
              <a:buNone/>
              <a:defRPr sz="1400"/>
            </a:lvl6pPr>
            <a:lvl7pPr marL="2618446" indent="0">
              <a:buNone/>
              <a:defRPr sz="1400"/>
            </a:lvl7pPr>
            <a:lvl8pPr marL="3054850" indent="0">
              <a:buNone/>
              <a:defRPr sz="1400"/>
            </a:lvl8pPr>
            <a:lvl9pPr marL="3491260" indent="0">
              <a:buNone/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30830" y="4705907"/>
            <a:ext cx="2039229" cy="3498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buNone/>
              <a:defRPr lang="ru-RU" sz="17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9501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55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1" y="6400931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05921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55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1" y="6400931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0049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55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1" y="6400931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58788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55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1" y="6400931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21653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52359554"/>
              </p:ext>
            </p:extLst>
          </p:nvPr>
        </p:nvGraphicFramePr>
        <p:xfrm>
          <a:off x="1601" y="161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5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61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683" y="286562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2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42777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8275076"/>
              </p:ext>
            </p:extLst>
          </p:nvPr>
        </p:nvGraphicFramePr>
        <p:xfrm>
          <a:off x="1601" y="161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8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61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B50031-0E1C-4B01-8CDA-AD1DD1D4619A}" type="slidenum">
              <a:rPr lang="ru-RU"/>
              <a:pPr>
                <a:defRPr/>
              </a:pPr>
              <a:t>‹#›</a:t>
            </a:fld>
            <a:r>
              <a:rPr lang="ru-RU" sz="12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600561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0269643"/>
              </p:ext>
            </p:extLst>
          </p:nvPr>
        </p:nvGraphicFramePr>
        <p:xfrm>
          <a:off x="1601" y="161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0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61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4D1E8E-17D7-498E-AA07-835C8E7A4240}" type="slidenum">
              <a:rPr lang="ru-RU"/>
              <a:pPr>
                <a:defRPr/>
              </a:pPr>
              <a:t>‹#›</a:t>
            </a:fld>
            <a:r>
              <a:rPr lang="ru-RU" sz="1000" dirty="0">
                <a:solidFill>
                  <a:srgbClr val="808080"/>
                </a:solidFill>
              </a:rPr>
              <a:t>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059" y="4929971"/>
            <a:ext cx="9902943" cy="192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71478" y="597068"/>
            <a:ext cx="73379" cy="3072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784" y="1308584"/>
            <a:ext cx="8420100" cy="136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934" tIns="53967" rIns="107934" bIns="53967" anchor="ctr"/>
          <a:lstStyle>
            <a:lvl1pPr algn="l" defTabSz="899735" rtl="0" fontAlgn="base">
              <a:spcBef>
                <a:spcPct val="0"/>
              </a:spcBef>
              <a:spcAft>
                <a:spcPct val="0"/>
              </a:spcAft>
              <a:defRPr lang="ru-RU" sz="3200" b="1" kern="1200" dirty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8784" y="2721560"/>
            <a:ext cx="8420100" cy="83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934" tIns="53967" rIns="107934" bIns="53967" anchor="t" anchorCtr="0"/>
          <a:lstStyle>
            <a:lvl1pPr marL="0" indent="0" algn="l" defTabSz="899735" rtl="0" fontAlgn="base">
              <a:spcBef>
                <a:spcPct val="0"/>
              </a:spcBef>
              <a:spcAft>
                <a:spcPct val="0"/>
              </a:spcAft>
              <a:buNone/>
              <a:defRPr lang="en-US" sz="2200" b="1" i="1" kern="1200" dirty="0" smtClean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  <a:lvl2pPr marL="410657" indent="0">
              <a:buNone/>
              <a:defRPr sz="1600"/>
            </a:lvl2pPr>
            <a:lvl3pPr marL="821310" indent="0">
              <a:buNone/>
              <a:defRPr sz="1400"/>
            </a:lvl3pPr>
            <a:lvl4pPr marL="1231966" indent="0">
              <a:buNone/>
              <a:defRPr sz="1200"/>
            </a:lvl4pPr>
            <a:lvl5pPr marL="1642624" indent="0">
              <a:buNone/>
              <a:defRPr sz="1200"/>
            </a:lvl5pPr>
            <a:lvl6pPr marL="2053279" indent="0">
              <a:buNone/>
              <a:defRPr sz="1200"/>
            </a:lvl6pPr>
            <a:lvl7pPr marL="2463932" indent="0">
              <a:buNone/>
              <a:defRPr sz="1200"/>
            </a:lvl7pPr>
            <a:lvl8pPr marL="2874587" indent="0">
              <a:buNone/>
              <a:defRPr sz="1200"/>
            </a:lvl8pPr>
            <a:lvl9pPr marL="3285244" indent="0">
              <a:buNone/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3643" y="396249"/>
            <a:ext cx="1820065" cy="532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88545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42950" y="609098"/>
            <a:ext cx="84201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742950" y="1980700"/>
            <a:ext cx="8420100" cy="41148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616462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F6406FF-8112-4C13-A75D-A91A63D6122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852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683" y="286545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9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0245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B50031-0E1C-4B01-8CDA-AD1DD1D4619A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539803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4D1E8E-17D7-498E-AA07-835C8E7A4240}" type="slidenum">
              <a:rPr lang="ru-RU"/>
              <a:pPr>
                <a:defRPr/>
              </a:pPr>
              <a:t>‹#›</a:t>
            </a:fld>
            <a:r>
              <a:rPr lang="ru-RU" sz="917" dirty="0">
                <a:solidFill>
                  <a:srgbClr val="808080"/>
                </a:solidFill>
              </a:rPr>
              <a:t>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59" y="4929971"/>
            <a:ext cx="9902943" cy="192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1478" y="597068"/>
            <a:ext cx="73379" cy="3072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784" y="1308584"/>
            <a:ext cx="8420100" cy="136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669" tIns="47835" rIns="95669" bIns="47835" anchor="ctr"/>
          <a:lstStyle>
            <a:lvl1pPr algn="l" defTabSz="797496" rtl="0" fontAlgn="base">
              <a:spcBef>
                <a:spcPct val="0"/>
              </a:spcBef>
              <a:spcAft>
                <a:spcPct val="0"/>
              </a:spcAft>
              <a:defRPr lang="ru-RU" sz="2833" b="1" kern="1200" dirty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8784" y="2721543"/>
            <a:ext cx="8420100" cy="83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669" tIns="47835" rIns="95669" bIns="47835" anchor="t" anchorCtr="0"/>
          <a:lstStyle>
            <a:lvl1pPr marL="0" indent="0" algn="l" defTabSz="797496" rtl="0" fontAlgn="base">
              <a:spcBef>
                <a:spcPct val="0"/>
              </a:spcBef>
              <a:spcAft>
                <a:spcPct val="0"/>
              </a:spcAft>
              <a:buNone/>
              <a:defRPr lang="en-US" sz="1917" b="1" i="1" kern="1200" dirty="0" smtClean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  <a:lvl2pPr marL="363993" indent="0">
              <a:buNone/>
              <a:defRPr sz="1417"/>
            </a:lvl2pPr>
            <a:lvl3pPr marL="727983" indent="0">
              <a:buNone/>
              <a:defRPr sz="1250"/>
            </a:lvl3pPr>
            <a:lvl4pPr marL="1091975" indent="0">
              <a:buNone/>
              <a:defRPr sz="1083"/>
            </a:lvl4pPr>
            <a:lvl5pPr marL="1455969" indent="0">
              <a:buNone/>
              <a:defRPr sz="1083"/>
            </a:lvl5pPr>
            <a:lvl6pPr marL="1819960" indent="0">
              <a:buNone/>
              <a:defRPr sz="1083"/>
            </a:lvl6pPr>
            <a:lvl7pPr marL="2183950" indent="0">
              <a:buNone/>
              <a:defRPr sz="1083"/>
            </a:lvl7pPr>
            <a:lvl8pPr marL="2547941" indent="0">
              <a:buNone/>
              <a:defRPr sz="1083"/>
            </a:lvl8pPr>
            <a:lvl9pPr marL="2911934" indent="0">
              <a:buNone/>
              <a:defRPr sz="1083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3643" y="396249"/>
            <a:ext cx="1820065" cy="532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39058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E21891-C490-4004-85C6-D1C420B5BA6E}" type="slidenum">
              <a:rPr lang="ru-RU" altLang="en-US"/>
              <a:pPr>
                <a:defRPr/>
              </a:pPr>
              <a:t>‹#›</a:t>
            </a:fld>
            <a:endParaRPr lang="ru-RU" altLang="en-US" dirty="0"/>
          </a:p>
        </p:txBody>
      </p:sp>
    </p:spTree>
    <p:extLst>
      <p:ext uri="{BB962C8B-B14F-4D97-AF65-F5344CB8AC3E}">
        <p14:creationId xmlns:p14="http://schemas.microsoft.com/office/powerpoint/2010/main" val="12753254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683" y="286520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583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917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9486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87160" y="466726"/>
            <a:ext cx="6702029" cy="2133600"/>
          </a:xfrm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ru-RU" altLang="en-US" noProof="0" smtClean="0"/>
              <a:t>Образец заголовка</a:t>
            </a:r>
          </a:p>
        </p:txBody>
      </p:sp>
      <p:sp>
        <p:nvSpPr>
          <p:cNvPr id="12800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20089" y="3049588"/>
            <a:ext cx="6769100" cy="23622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500"/>
            </a:lvl1pPr>
          </a:lstStyle>
          <a:p>
            <a:pPr lvl="0"/>
            <a:r>
              <a:rPr lang="ru-RU" altLang="en-US" noProof="0" smtClean="0"/>
              <a:t>Образец подзаголовка</a:t>
            </a: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3938326" y="2416175"/>
            <a:ext cx="4567767" cy="1049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6" tIns="45714" rIns="91426" bIns="45714" anchor="ctr"/>
          <a:lstStyle>
            <a:lvl1pPr marL="342900" indent="-342900"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sz="800" dirty="0">
                <a:solidFill>
                  <a:srgbClr val="008C7F"/>
                </a:solidFill>
              </a:rPr>
              <a:t>НАЗВАНИЕ ПРЕЗЕНТАЦИИ</a:t>
            </a:r>
          </a:p>
        </p:txBody>
      </p:sp>
      <p:sp>
        <p:nvSpPr>
          <p:cNvPr id="11" name="Line 15"/>
          <p:cNvSpPr>
            <a:spLocks noChangeShapeType="1"/>
          </p:cNvSpPr>
          <p:nvPr/>
        </p:nvSpPr>
        <p:spPr bwMode="auto">
          <a:xfrm>
            <a:off x="9013022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46" tIns="43675" rIns="87346" bIns="43675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12" name="Picture 2" descr="C:\Documents and Settings\BelovaDV\Мои документы\Мои рисунки\лого_SIBUR_new_E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69" y="6491436"/>
            <a:ext cx="102375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09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9457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Line 15"/>
          <p:cNvSpPr>
            <a:spLocks noChangeShapeType="1"/>
          </p:cNvSpPr>
          <p:nvPr/>
        </p:nvSpPr>
        <p:spPr bwMode="auto">
          <a:xfrm>
            <a:off x="9013022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46" tIns="43675" rIns="87346" bIns="43675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9" name="Picture 2" descr="C:\Documents and Settings\BelovaDV\Мои документы\Мои рисунки\лого_SIBUR_new_E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69" y="6491436"/>
            <a:ext cx="102375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09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8958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Line 15"/>
          <p:cNvSpPr>
            <a:spLocks noChangeShapeType="1"/>
          </p:cNvSpPr>
          <p:nvPr/>
        </p:nvSpPr>
        <p:spPr bwMode="auto">
          <a:xfrm>
            <a:off x="9013022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46" tIns="43675" rIns="87346" bIns="43675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09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63766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15"/>
          <p:cNvSpPr>
            <a:spLocks noChangeShapeType="1"/>
          </p:cNvSpPr>
          <p:nvPr/>
        </p:nvSpPr>
        <p:spPr bwMode="auto">
          <a:xfrm>
            <a:off x="9013022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46" tIns="43675" rIns="87346" bIns="43675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6" name="Picture 2" descr="C:\Documents and Settings\BelovaDV\Мои документы\Мои рисунки\лого_SIBUR_new_E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69" y="6491436"/>
            <a:ext cx="102375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09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9447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61" y="185739"/>
            <a:ext cx="7702947" cy="62706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95300" y="1397004"/>
            <a:ext cx="8915400" cy="4733926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5706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17338" y="97738"/>
            <a:ext cx="8993363" cy="599793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09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0253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42950" y="609098"/>
            <a:ext cx="84201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742950" y="1980700"/>
            <a:ext cx="8420100" cy="41148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09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554941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60" y="185739"/>
            <a:ext cx="7702947" cy="62706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95300" y="1397004"/>
            <a:ext cx="8915400" cy="4733926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9520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73"/>
            <a:ext cx="8420100" cy="1362076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30" indent="0">
              <a:buNone/>
              <a:defRPr sz="1800"/>
            </a:lvl2pPr>
            <a:lvl3pPr marL="914262" indent="0">
              <a:buNone/>
              <a:defRPr sz="1600"/>
            </a:lvl3pPr>
            <a:lvl4pPr marL="1371390" indent="0">
              <a:buNone/>
              <a:defRPr sz="1400"/>
            </a:lvl4pPr>
            <a:lvl5pPr marL="1828520" indent="0">
              <a:buNone/>
              <a:defRPr sz="1400"/>
            </a:lvl5pPr>
            <a:lvl6pPr marL="2285652" indent="0">
              <a:buNone/>
              <a:defRPr sz="1400"/>
            </a:lvl6pPr>
            <a:lvl7pPr marL="2742781" indent="0">
              <a:buNone/>
              <a:defRPr sz="1400"/>
            </a:lvl7pPr>
            <a:lvl8pPr marL="3199911" indent="0">
              <a:buNone/>
              <a:defRPr sz="1400"/>
            </a:lvl8pPr>
            <a:lvl9pPr marL="3657042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09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85903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73"/>
            <a:ext cx="8420100" cy="1362076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30" indent="0">
              <a:buNone/>
              <a:defRPr sz="1800"/>
            </a:lvl2pPr>
            <a:lvl3pPr marL="914262" indent="0">
              <a:buNone/>
              <a:defRPr sz="1600"/>
            </a:lvl3pPr>
            <a:lvl4pPr marL="1371390" indent="0">
              <a:buNone/>
              <a:defRPr sz="1400"/>
            </a:lvl4pPr>
            <a:lvl5pPr marL="1828520" indent="0">
              <a:buNone/>
              <a:defRPr sz="1400"/>
            </a:lvl5pPr>
            <a:lvl6pPr marL="2285652" indent="0">
              <a:buNone/>
              <a:defRPr sz="1400"/>
            </a:lvl6pPr>
            <a:lvl7pPr marL="2742781" indent="0">
              <a:buNone/>
              <a:defRPr sz="1400"/>
            </a:lvl7pPr>
            <a:lvl8pPr marL="3199911" indent="0">
              <a:buNone/>
              <a:defRPr sz="1400"/>
            </a:lvl8pPr>
            <a:lvl9pPr marL="3657042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76918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45016460"/>
              </p:ext>
            </p:extLst>
          </p:nvPr>
        </p:nvGraphicFramePr>
        <p:xfrm>
          <a:off x="1644" y="1650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4" y="1650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683" y="286641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2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609317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68757326"/>
              </p:ext>
            </p:extLst>
          </p:nvPr>
        </p:nvGraphicFramePr>
        <p:xfrm>
          <a:off x="1644" y="1650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0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4" y="1650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B50031-0E1C-4B01-8CDA-AD1DD1D4619A}" type="slidenum">
              <a:rPr lang="ru-RU"/>
              <a:pPr>
                <a:defRPr/>
              </a:pPr>
              <a:t>‹#›</a:t>
            </a:fld>
            <a:r>
              <a:rPr lang="ru-RU" sz="12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169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4682569"/>
              </p:ext>
            </p:extLst>
          </p:nvPr>
        </p:nvGraphicFramePr>
        <p:xfrm>
          <a:off x="1644" y="1650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4" y="1650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4D1E8E-17D7-498E-AA07-835C8E7A4240}" type="slidenum">
              <a:rPr lang="ru-RU"/>
              <a:pPr>
                <a:defRPr/>
              </a:pPr>
              <a:t>‹#›</a:t>
            </a:fld>
            <a:r>
              <a:rPr lang="ru-RU" sz="1000" dirty="0">
                <a:solidFill>
                  <a:srgbClr val="808080"/>
                </a:solidFill>
              </a:rPr>
              <a:t>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059" y="4929971"/>
            <a:ext cx="9902943" cy="192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71478" y="597068"/>
            <a:ext cx="73379" cy="3072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784" y="1308584"/>
            <a:ext cx="8420100" cy="136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918" tIns="53958" rIns="107918" bIns="53958" anchor="ctr"/>
          <a:lstStyle>
            <a:lvl1pPr algn="l" defTabSz="899597" rtl="0" fontAlgn="base">
              <a:spcBef>
                <a:spcPct val="0"/>
              </a:spcBef>
              <a:spcAft>
                <a:spcPct val="0"/>
              </a:spcAft>
              <a:defRPr lang="ru-RU" sz="3200" b="1" kern="1200" dirty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8784" y="2721639"/>
            <a:ext cx="8420100" cy="83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918" tIns="53958" rIns="107918" bIns="53958" anchor="t" anchorCtr="0"/>
          <a:lstStyle>
            <a:lvl1pPr marL="0" indent="0" algn="l" defTabSz="899597" rtl="0" fontAlgn="base">
              <a:spcBef>
                <a:spcPct val="0"/>
              </a:spcBef>
              <a:spcAft>
                <a:spcPct val="0"/>
              </a:spcAft>
              <a:buNone/>
              <a:defRPr lang="en-US" sz="2100" b="1" i="1" kern="1200" dirty="0" smtClean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  <a:lvl2pPr marL="410594" indent="0">
              <a:buNone/>
              <a:defRPr sz="1600"/>
            </a:lvl2pPr>
            <a:lvl3pPr marL="821184" indent="0">
              <a:buNone/>
              <a:defRPr sz="1400"/>
            </a:lvl3pPr>
            <a:lvl4pPr marL="1231777" indent="0">
              <a:buNone/>
              <a:defRPr sz="1200"/>
            </a:lvl4pPr>
            <a:lvl5pPr marL="1642374" indent="0">
              <a:buNone/>
              <a:defRPr sz="1200"/>
            </a:lvl5pPr>
            <a:lvl6pPr marL="2052965" indent="0">
              <a:buNone/>
              <a:defRPr sz="1200"/>
            </a:lvl6pPr>
            <a:lvl7pPr marL="2463556" indent="0">
              <a:buNone/>
              <a:defRPr sz="1200"/>
            </a:lvl7pPr>
            <a:lvl8pPr marL="2874147" indent="0">
              <a:buNone/>
              <a:defRPr sz="1200"/>
            </a:lvl8pPr>
            <a:lvl9pPr marL="3284742" indent="0">
              <a:buNone/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3643" y="396249"/>
            <a:ext cx="1820065" cy="532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39584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F6406FF-8112-4C13-A75D-A91A63D6122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8918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94517675"/>
              </p:ext>
            </p:extLst>
          </p:nvPr>
        </p:nvGraphicFramePr>
        <p:xfrm>
          <a:off x="1644" y="1650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4" y="1650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B50031-0E1C-4B01-8CDA-AD1DD1D4619A}" type="slidenum">
              <a:rPr lang="ru-RU"/>
              <a:pPr>
                <a:defRPr/>
              </a:pPr>
              <a:t>‹#›</a:t>
            </a:fld>
            <a:r>
              <a:rPr lang="ru-RU" sz="12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363702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F6406FF-8112-4C13-A75D-A91A63D6122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444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F6406FF-8112-4C13-A75D-A91A63D6122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9374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38749660"/>
              </p:ext>
            </p:extLst>
          </p:nvPr>
        </p:nvGraphicFramePr>
        <p:xfrm>
          <a:off x="1644" y="1650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4" y="1650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683" y="286641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2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036532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12786520"/>
              </p:ext>
            </p:extLst>
          </p:nvPr>
        </p:nvGraphicFramePr>
        <p:xfrm>
          <a:off x="1644" y="1650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4" y="1650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B50031-0E1C-4B01-8CDA-AD1DD1D4619A}" type="slidenum">
              <a:rPr lang="ru-RU"/>
              <a:pPr>
                <a:defRPr/>
              </a:pPr>
              <a:t>‹#›</a:t>
            </a:fld>
            <a:r>
              <a:rPr lang="ru-RU" sz="12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748923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2449259"/>
              </p:ext>
            </p:extLst>
          </p:nvPr>
        </p:nvGraphicFramePr>
        <p:xfrm>
          <a:off x="1644" y="1650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4" y="1650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4D1E8E-17D7-498E-AA07-835C8E7A4240}" type="slidenum">
              <a:rPr lang="ru-RU"/>
              <a:pPr>
                <a:defRPr/>
              </a:pPr>
              <a:t>‹#›</a:t>
            </a:fld>
            <a:r>
              <a:rPr lang="ru-RU" sz="1000" dirty="0">
                <a:solidFill>
                  <a:srgbClr val="808080"/>
                </a:solidFill>
              </a:rPr>
              <a:t>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059" y="4929971"/>
            <a:ext cx="9902943" cy="192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71478" y="597068"/>
            <a:ext cx="73379" cy="3072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784" y="1308584"/>
            <a:ext cx="8420100" cy="136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918" tIns="53958" rIns="107918" bIns="53958" anchor="ctr"/>
          <a:lstStyle>
            <a:lvl1pPr algn="l" defTabSz="899597" rtl="0" fontAlgn="base">
              <a:spcBef>
                <a:spcPct val="0"/>
              </a:spcBef>
              <a:spcAft>
                <a:spcPct val="0"/>
              </a:spcAft>
              <a:defRPr lang="ru-RU" sz="3200" b="1" kern="1200" dirty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8784" y="2721639"/>
            <a:ext cx="8420100" cy="83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918" tIns="53958" rIns="107918" bIns="53958" anchor="t" anchorCtr="0"/>
          <a:lstStyle>
            <a:lvl1pPr marL="0" indent="0" algn="l" defTabSz="899597" rtl="0" fontAlgn="base">
              <a:spcBef>
                <a:spcPct val="0"/>
              </a:spcBef>
              <a:spcAft>
                <a:spcPct val="0"/>
              </a:spcAft>
              <a:buNone/>
              <a:defRPr lang="en-US" sz="2100" b="1" i="1" kern="1200" dirty="0" smtClean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  <a:lvl2pPr marL="410594" indent="0">
              <a:buNone/>
              <a:defRPr sz="1600"/>
            </a:lvl2pPr>
            <a:lvl3pPr marL="821184" indent="0">
              <a:buNone/>
              <a:defRPr sz="1400"/>
            </a:lvl3pPr>
            <a:lvl4pPr marL="1231777" indent="0">
              <a:buNone/>
              <a:defRPr sz="1200"/>
            </a:lvl4pPr>
            <a:lvl5pPr marL="1642374" indent="0">
              <a:buNone/>
              <a:defRPr sz="1200"/>
            </a:lvl5pPr>
            <a:lvl6pPr marL="2052965" indent="0">
              <a:buNone/>
              <a:defRPr sz="1200"/>
            </a:lvl6pPr>
            <a:lvl7pPr marL="2463556" indent="0">
              <a:buNone/>
              <a:defRPr sz="1200"/>
            </a:lvl7pPr>
            <a:lvl8pPr marL="2874147" indent="0">
              <a:buNone/>
              <a:defRPr sz="1200"/>
            </a:lvl8pPr>
            <a:lvl9pPr marL="3284742" indent="0">
              <a:buNone/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3643" y="396249"/>
            <a:ext cx="1820065" cy="532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25793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09274911"/>
              </p:ext>
            </p:extLst>
          </p:nvPr>
        </p:nvGraphicFramePr>
        <p:xfrm>
          <a:off x="1644" y="1650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4" y="1650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683" y="286641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2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416043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64754548"/>
              </p:ext>
            </p:extLst>
          </p:nvPr>
        </p:nvGraphicFramePr>
        <p:xfrm>
          <a:off x="1644" y="1650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6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4" y="1650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B50031-0E1C-4B01-8CDA-AD1DD1D4619A}" type="slidenum">
              <a:rPr lang="ru-RU"/>
              <a:pPr>
                <a:defRPr/>
              </a:pPr>
              <a:t>‹#›</a:t>
            </a:fld>
            <a:r>
              <a:rPr lang="ru-RU" sz="12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25504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6804302"/>
              </p:ext>
            </p:extLst>
          </p:nvPr>
        </p:nvGraphicFramePr>
        <p:xfrm>
          <a:off x="1644" y="1650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9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4" y="1650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4D1E8E-17D7-498E-AA07-835C8E7A4240}" type="slidenum">
              <a:rPr lang="ru-RU"/>
              <a:pPr>
                <a:defRPr/>
              </a:pPr>
              <a:t>‹#›</a:t>
            </a:fld>
            <a:r>
              <a:rPr lang="ru-RU" sz="1000" dirty="0">
                <a:solidFill>
                  <a:srgbClr val="808080"/>
                </a:solidFill>
              </a:rPr>
              <a:t>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059" y="4929971"/>
            <a:ext cx="9902943" cy="192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71478" y="597068"/>
            <a:ext cx="73379" cy="3072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784" y="1308584"/>
            <a:ext cx="8420100" cy="136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918" tIns="53958" rIns="107918" bIns="53958" anchor="ctr"/>
          <a:lstStyle>
            <a:lvl1pPr algn="l" defTabSz="899597" rtl="0" fontAlgn="base">
              <a:spcBef>
                <a:spcPct val="0"/>
              </a:spcBef>
              <a:spcAft>
                <a:spcPct val="0"/>
              </a:spcAft>
              <a:defRPr lang="ru-RU" sz="3200" b="1" kern="1200" dirty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8784" y="2721639"/>
            <a:ext cx="8420100" cy="83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918" tIns="53958" rIns="107918" bIns="53958" anchor="t" anchorCtr="0"/>
          <a:lstStyle>
            <a:lvl1pPr marL="0" indent="0" algn="l" defTabSz="899597" rtl="0" fontAlgn="base">
              <a:spcBef>
                <a:spcPct val="0"/>
              </a:spcBef>
              <a:spcAft>
                <a:spcPct val="0"/>
              </a:spcAft>
              <a:buNone/>
              <a:defRPr lang="en-US" sz="2100" b="1" i="1" kern="1200" dirty="0" smtClean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  <a:lvl2pPr marL="410594" indent="0">
              <a:buNone/>
              <a:defRPr sz="1600"/>
            </a:lvl2pPr>
            <a:lvl3pPr marL="821184" indent="0">
              <a:buNone/>
              <a:defRPr sz="1400"/>
            </a:lvl3pPr>
            <a:lvl4pPr marL="1231777" indent="0">
              <a:buNone/>
              <a:defRPr sz="1200"/>
            </a:lvl4pPr>
            <a:lvl5pPr marL="1642374" indent="0">
              <a:buNone/>
              <a:defRPr sz="1200"/>
            </a:lvl5pPr>
            <a:lvl6pPr marL="2052965" indent="0">
              <a:buNone/>
              <a:defRPr sz="1200"/>
            </a:lvl6pPr>
            <a:lvl7pPr marL="2463556" indent="0">
              <a:buNone/>
              <a:defRPr sz="1200"/>
            </a:lvl7pPr>
            <a:lvl8pPr marL="2874147" indent="0">
              <a:buNone/>
              <a:defRPr sz="1200"/>
            </a:lvl8pPr>
            <a:lvl9pPr marL="3284742" indent="0">
              <a:buNone/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3643" y="396249"/>
            <a:ext cx="1820065" cy="532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7638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F6406FF-8112-4C13-A75D-A91A63D6122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2937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3643" y="396250"/>
            <a:ext cx="1820065" cy="532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4D1E8E-17D7-498E-AA07-835C8E7A4240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" y="4929983"/>
            <a:ext cx="9902943" cy="192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9" y="597068"/>
            <a:ext cx="73379" cy="3072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785" y="1308584"/>
            <a:ext cx="8420100" cy="136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478" tIns="47741" rIns="95478" bIns="47741" anchor="ctr"/>
          <a:lstStyle>
            <a:lvl1pPr algn="l" defTabSz="955147" rtl="0" fontAlgn="base">
              <a:spcBef>
                <a:spcPct val="0"/>
              </a:spcBef>
              <a:spcAft>
                <a:spcPct val="0"/>
              </a:spcAft>
              <a:defRPr lang="ru-RU" sz="3400" b="1" kern="1200" dirty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8785" y="2721696"/>
            <a:ext cx="8420100" cy="83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478" tIns="47741" rIns="95478" bIns="47741" anchor="t" anchorCtr="0"/>
          <a:lstStyle>
            <a:lvl1pPr marL="0" indent="0" algn="l" defTabSz="955147" rtl="0" fontAlgn="base">
              <a:spcBef>
                <a:spcPct val="0"/>
              </a:spcBef>
              <a:spcAft>
                <a:spcPct val="0"/>
              </a:spcAft>
              <a:buNone/>
              <a:defRPr lang="en-US" sz="2300" b="1" i="1" kern="1200" dirty="0" smtClean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  <a:lvl2pPr marL="435950" indent="0">
              <a:buNone/>
              <a:defRPr sz="1600"/>
            </a:lvl2pPr>
            <a:lvl3pPr marL="871896" indent="0">
              <a:buNone/>
              <a:defRPr sz="1500"/>
            </a:lvl3pPr>
            <a:lvl4pPr marL="1307844" indent="0">
              <a:buNone/>
              <a:defRPr sz="1500"/>
            </a:lvl4pPr>
            <a:lvl5pPr marL="1743798" indent="0">
              <a:buNone/>
              <a:defRPr sz="1500"/>
            </a:lvl5pPr>
            <a:lvl6pPr marL="2179741" indent="0">
              <a:buNone/>
              <a:defRPr sz="1500"/>
            </a:lvl6pPr>
            <a:lvl7pPr marL="2615690" indent="0">
              <a:buNone/>
              <a:defRPr sz="1500"/>
            </a:lvl7pPr>
            <a:lvl8pPr marL="3051634" indent="0">
              <a:buNone/>
              <a:defRPr sz="1500"/>
            </a:lvl8pPr>
            <a:lvl9pPr marL="3487584" indent="0">
              <a:buNone/>
              <a:defRPr sz="15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30888" y="4705851"/>
            <a:ext cx="2039229" cy="3343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buNone/>
              <a:defRPr lang="ru-RU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655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4485504"/>
              </p:ext>
            </p:extLst>
          </p:nvPr>
        </p:nvGraphicFramePr>
        <p:xfrm>
          <a:off x="1644" y="1650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4" y="1650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4D1E8E-17D7-498E-AA07-835C8E7A4240}" type="slidenum">
              <a:rPr lang="ru-RU"/>
              <a:pPr>
                <a:defRPr/>
              </a:pPr>
              <a:t>‹#›</a:t>
            </a:fld>
            <a:r>
              <a:rPr lang="ru-RU" sz="1000" dirty="0">
                <a:solidFill>
                  <a:srgbClr val="808080"/>
                </a:solidFill>
              </a:rPr>
              <a:t>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059" y="4929971"/>
            <a:ext cx="9902943" cy="192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71478" y="597068"/>
            <a:ext cx="73379" cy="3072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784" y="1308584"/>
            <a:ext cx="8420100" cy="136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918" tIns="53958" rIns="107918" bIns="53958" anchor="ctr"/>
          <a:lstStyle>
            <a:lvl1pPr algn="l" defTabSz="899597" rtl="0" fontAlgn="base">
              <a:spcBef>
                <a:spcPct val="0"/>
              </a:spcBef>
              <a:spcAft>
                <a:spcPct val="0"/>
              </a:spcAft>
              <a:defRPr lang="ru-RU" sz="3200" b="1" kern="1200" dirty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8784" y="2721639"/>
            <a:ext cx="8420100" cy="83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918" tIns="53958" rIns="107918" bIns="53958" anchor="t" anchorCtr="0"/>
          <a:lstStyle>
            <a:lvl1pPr marL="0" indent="0" algn="l" defTabSz="899597" rtl="0" fontAlgn="base">
              <a:spcBef>
                <a:spcPct val="0"/>
              </a:spcBef>
              <a:spcAft>
                <a:spcPct val="0"/>
              </a:spcAft>
              <a:buNone/>
              <a:defRPr lang="en-US" sz="2100" b="1" i="1" kern="1200" dirty="0" smtClean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  <a:lvl2pPr marL="410594" indent="0">
              <a:buNone/>
              <a:defRPr sz="1600"/>
            </a:lvl2pPr>
            <a:lvl3pPr marL="821184" indent="0">
              <a:buNone/>
              <a:defRPr sz="1400"/>
            </a:lvl3pPr>
            <a:lvl4pPr marL="1231777" indent="0">
              <a:buNone/>
              <a:defRPr sz="1200"/>
            </a:lvl4pPr>
            <a:lvl5pPr marL="1642374" indent="0">
              <a:buNone/>
              <a:defRPr sz="1200"/>
            </a:lvl5pPr>
            <a:lvl6pPr marL="2052965" indent="0">
              <a:buNone/>
              <a:defRPr sz="1200"/>
            </a:lvl6pPr>
            <a:lvl7pPr marL="2463556" indent="0">
              <a:buNone/>
              <a:defRPr sz="1200"/>
            </a:lvl7pPr>
            <a:lvl8pPr marL="2874147" indent="0">
              <a:buNone/>
              <a:defRPr sz="1200"/>
            </a:lvl8pPr>
            <a:lvl9pPr marL="3284742" indent="0">
              <a:buNone/>
              <a:defRPr sz="12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3643" y="396249"/>
            <a:ext cx="1820065" cy="532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47883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56512" y="6400989"/>
            <a:ext cx="807156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487" tIns="47747" rIns="95487" bIns="47747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500" b="1" i="1">
                <a:solidFill>
                  <a:srgbClr val="008080"/>
                </a:solidFill>
              </a:defRPr>
            </a:lvl1pPr>
          </a:lstStyle>
          <a:p>
            <a:pPr>
              <a:defRPr/>
            </a:pPr>
            <a:fld id="{62904C63-2B24-46AF-B25E-66CB8A4EF8F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7440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1101259"/>
              </p:ext>
            </p:extLst>
          </p:nvPr>
        </p:nvGraphicFramePr>
        <p:xfrm>
          <a:off x="1693" y="1595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8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93" y="1595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9656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B50031-0E1C-4B01-8CDA-AD1DD1D4619A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4974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lIns="95598" tIns="47802" rIns="95598" bIns="47802"/>
          <a:lstStyle>
            <a:lvl1pPr algn="l">
              <a:defRPr sz="18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8DE6EC-471B-4DBC-BA50-472EFF704252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534985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56512" y="6400995"/>
            <a:ext cx="807156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487" tIns="47747" rIns="95487" bIns="47747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500" b="1" i="1">
                <a:solidFill>
                  <a:srgbClr val="008080"/>
                </a:solidFill>
              </a:defRPr>
            </a:lvl1pPr>
          </a:lstStyle>
          <a:p>
            <a:pPr>
              <a:defRPr/>
            </a:pPr>
            <a:fld id="{62904C63-2B24-46AF-B25E-66CB8A4EF8F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9416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89960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9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02429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9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26617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9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23795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9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83210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123300"/>
              </p:ext>
            </p:extLst>
          </p:nvPr>
        </p:nvGraphicFramePr>
        <p:xfrm>
          <a:off x="1644" y="1650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4" y="1650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E21891-C490-4004-85C6-D1C420B5BA6E}" type="slidenum">
              <a:rPr lang="ru-RU" altLang="en-US"/>
              <a:pPr>
                <a:defRPr/>
              </a:pPr>
              <a:t>‹#›</a:t>
            </a:fld>
            <a:endParaRPr lang="ru-RU" altLang="en-US" dirty="0"/>
          </a:p>
        </p:txBody>
      </p:sp>
    </p:spTree>
    <p:extLst>
      <p:ext uri="{BB962C8B-B14F-4D97-AF65-F5344CB8AC3E}">
        <p14:creationId xmlns:p14="http://schemas.microsoft.com/office/powerpoint/2010/main" val="410696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3"/>
            <a:ext cx="807156" cy="31282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4D1E8E-17D7-498E-AA07-835C8E7A424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" y="4929978"/>
            <a:ext cx="9902943" cy="192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9" y="597068"/>
            <a:ext cx="73379" cy="3072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785" y="1308584"/>
            <a:ext cx="8420100" cy="136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478" tIns="47741" rIns="95478" bIns="47741" anchor="ctr"/>
          <a:lstStyle>
            <a:lvl1pPr algn="l" defTabSz="955147" rtl="0" fontAlgn="base">
              <a:spcBef>
                <a:spcPct val="0"/>
              </a:spcBef>
              <a:spcAft>
                <a:spcPct val="0"/>
              </a:spcAft>
              <a:defRPr lang="ru-RU" sz="3400" b="1" kern="1200" dirty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8785" y="2721691"/>
            <a:ext cx="8420100" cy="83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478" tIns="47741" rIns="95478" bIns="47741" anchor="t" anchorCtr="0"/>
          <a:lstStyle>
            <a:lvl1pPr marL="0" indent="0" algn="l" defTabSz="955147" rtl="0" fontAlgn="base">
              <a:spcBef>
                <a:spcPct val="0"/>
              </a:spcBef>
              <a:spcAft>
                <a:spcPct val="0"/>
              </a:spcAft>
              <a:buNone/>
              <a:defRPr lang="en-US" sz="2300" b="1" i="1" kern="1200" dirty="0" smtClean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  <a:lvl2pPr marL="435950" indent="0">
              <a:buNone/>
              <a:defRPr sz="1600"/>
            </a:lvl2pPr>
            <a:lvl3pPr marL="871896" indent="0">
              <a:buNone/>
              <a:defRPr sz="1500"/>
            </a:lvl3pPr>
            <a:lvl4pPr marL="1307844" indent="0">
              <a:buNone/>
              <a:defRPr sz="1500"/>
            </a:lvl4pPr>
            <a:lvl5pPr marL="1743798" indent="0">
              <a:buNone/>
              <a:defRPr sz="1500"/>
            </a:lvl5pPr>
            <a:lvl6pPr marL="2179741" indent="0">
              <a:buNone/>
              <a:defRPr sz="1500"/>
            </a:lvl6pPr>
            <a:lvl7pPr marL="2615690" indent="0">
              <a:buNone/>
              <a:defRPr sz="1500"/>
            </a:lvl7pPr>
            <a:lvl8pPr marL="3051634" indent="0">
              <a:buNone/>
              <a:defRPr sz="1500"/>
            </a:lvl8pPr>
            <a:lvl9pPr marL="3487584" indent="0">
              <a:buNone/>
              <a:defRPr sz="15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30888" y="4705851"/>
            <a:ext cx="2039229" cy="3343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buNone/>
              <a:defRPr lang="ru-RU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4725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267727" y="286503"/>
            <a:ext cx="6765248" cy="379052"/>
          </a:xfrm>
          <a:prstGeom prst="rect">
            <a:avLst/>
          </a:prstGeom>
          <a:noFill/>
        </p:spPr>
        <p:txBody>
          <a:bodyPr lIns="87290" tIns="43644" rIns="87290" bIns="43644"/>
          <a:lstStyle/>
          <a:p>
            <a:pPr defTabSz="95514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kern="0" dirty="0">
                <a:solidFill>
                  <a:srgbClr val="008080"/>
                </a:solidFill>
              </a:rPr>
              <a:t>  AGENDA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9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65726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683" y="28664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9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2171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77"/>
            <a:ext cx="807156" cy="31282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4D1E8E-17D7-498E-AA07-835C8E7A424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" y="4929973"/>
            <a:ext cx="9902943" cy="192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9" y="597068"/>
            <a:ext cx="73379" cy="3072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785" y="1308584"/>
            <a:ext cx="8420100" cy="136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478" tIns="47741" rIns="95478" bIns="47741" anchor="ctr"/>
          <a:lstStyle>
            <a:lvl1pPr algn="l" defTabSz="955147" rtl="0" fontAlgn="base">
              <a:spcBef>
                <a:spcPct val="0"/>
              </a:spcBef>
              <a:spcAft>
                <a:spcPct val="0"/>
              </a:spcAft>
              <a:defRPr lang="ru-RU" sz="3400" b="1" kern="1200" dirty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8785" y="2721684"/>
            <a:ext cx="8420100" cy="83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478" tIns="47741" rIns="95478" bIns="47741" anchor="t" anchorCtr="0"/>
          <a:lstStyle>
            <a:lvl1pPr marL="0" indent="0" algn="l" defTabSz="955147" rtl="0" fontAlgn="base">
              <a:spcBef>
                <a:spcPct val="0"/>
              </a:spcBef>
              <a:spcAft>
                <a:spcPct val="0"/>
              </a:spcAft>
              <a:buNone/>
              <a:defRPr lang="en-US" sz="2300" b="1" i="1" kern="1200" dirty="0" smtClean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  <a:lvl2pPr marL="435950" indent="0">
              <a:buNone/>
              <a:defRPr sz="1600"/>
            </a:lvl2pPr>
            <a:lvl3pPr marL="871896" indent="0">
              <a:buNone/>
              <a:defRPr sz="1500"/>
            </a:lvl3pPr>
            <a:lvl4pPr marL="1307844" indent="0">
              <a:buNone/>
              <a:defRPr sz="1500"/>
            </a:lvl4pPr>
            <a:lvl5pPr marL="1743798" indent="0">
              <a:buNone/>
              <a:defRPr sz="1500"/>
            </a:lvl5pPr>
            <a:lvl6pPr marL="2179741" indent="0">
              <a:buNone/>
              <a:defRPr sz="1500"/>
            </a:lvl6pPr>
            <a:lvl7pPr marL="2615690" indent="0">
              <a:buNone/>
              <a:defRPr sz="1500"/>
            </a:lvl7pPr>
            <a:lvl8pPr marL="3051634" indent="0">
              <a:buNone/>
              <a:defRPr sz="1500"/>
            </a:lvl8pPr>
            <a:lvl9pPr marL="3487584" indent="0">
              <a:buNone/>
              <a:defRPr sz="15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30888" y="4705845"/>
            <a:ext cx="2039229" cy="3343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buNone/>
              <a:defRPr lang="ru-RU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6669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9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32968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9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91739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9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917765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9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85541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71"/>
            <a:ext cx="807156" cy="31282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4D1E8E-17D7-498E-AA07-835C8E7A424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" y="4929966"/>
            <a:ext cx="9902943" cy="192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9" y="597068"/>
            <a:ext cx="73379" cy="3072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785" y="1308584"/>
            <a:ext cx="8420100" cy="136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478" tIns="47741" rIns="95478" bIns="47741" anchor="ctr"/>
          <a:lstStyle>
            <a:lvl1pPr algn="l" defTabSz="955147" rtl="0" fontAlgn="base">
              <a:spcBef>
                <a:spcPct val="0"/>
              </a:spcBef>
              <a:spcAft>
                <a:spcPct val="0"/>
              </a:spcAft>
              <a:defRPr lang="ru-RU" sz="3400" b="1" kern="1200" dirty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8785" y="2721679"/>
            <a:ext cx="8420100" cy="83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478" tIns="47741" rIns="95478" bIns="47741" anchor="t" anchorCtr="0"/>
          <a:lstStyle>
            <a:lvl1pPr marL="0" indent="0" algn="l" defTabSz="955147" rtl="0" fontAlgn="base">
              <a:spcBef>
                <a:spcPct val="0"/>
              </a:spcBef>
              <a:spcAft>
                <a:spcPct val="0"/>
              </a:spcAft>
              <a:buNone/>
              <a:defRPr lang="en-US" sz="2300" b="1" i="1" kern="1200" dirty="0" smtClean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  <a:lvl2pPr marL="435950" indent="0">
              <a:buNone/>
              <a:defRPr sz="1600"/>
            </a:lvl2pPr>
            <a:lvl3pPr marL="871896" indent="0">
              <a:buNone/>
              <a:defRPr sz="1500"/>
            </a:lvl3pPr>
            <a:lvl4pPr marL="1307844" indent="0">
              <a:buNone/>
              <a:defRPr sz="1500"/>
            </a:lvl4pPr>
            <a:lvl5pPr marL="1743798" indent="0">
              <a:buNone/>
              <a:defRPr sz="1500"/>
            </a:lvl5pPr>
            <a:lvl6pPr marL="2179741" indent="0">
              <a:buNone/>
              <a:defRPr sz="1500"/>
            </a:lvl6pPr>
            <a:lvl7pPr marL="2615690" indent="0">
              <a:buNone/>
              <a:defRPr sz="1500"/>
            </a:lvl7pPr>
            <a:lvl8pPr marL="3051634" indent="0">
              <a:buNone/>
              <a:defRPr sz="1500"/>
            </a:lvl8pPr>
            <a:lvl9pPr marL="3487584" indent="0">
              <a:buNone/>
              <a:defRPr sz="15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30888" y="4705839"/>
            <a:ext cx="2039229" cy="3343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buNone/>
              <a:defRPr lang="ru-RU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1945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9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1999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F6406FF-8112-4C13-A75D-A91A63D6122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1275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9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15633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9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6315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7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9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18764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42952" y="1981769"/>
            <a:ext cx="4136672" cy="4112394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6379" y="1981769"/>
            <a:ext cx="4136672" cy="4112394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9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55138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3643" y="396250"/>
            <a:ext cx="1820065" cy="532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4D1E8E-17D7-498E-AA07-835C8E7A4240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" y="4929983"/>
            <a:ext cx="9902943" cy="192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9" y="597068"/>
            <a:ext cx="73379" cy="3072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785" y="1308584"/>
            <a:ext cx="8420100" cy="136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478" tIns="47741" rIns="95478" bIns="47741" anchor="ctr"/>
          <a:lstStyle>
            <a:lvl1pPr algn="l" defTabSz="955147" rtl="0" fontAlgn="base">
              <a:spcBef>
                <a:spcPct val="0"/>
              </a:spcBef>
              <a:spcAft>
                <a:spcPct val="0"/>
              </a:spcAft>
              <a:defRPr lang="ru-RU" sz="3400" b="1" kern="1200" dirty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8785" y="2721695"/>
            <a:ext cx="8420100" cy="83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478" tIns="47741" rIns="95478" bIns="47741" anchor="t" anchorCtr="0"/>
          <a:lstStyle>
            <a:lvl1pPr marL="0" indent="0" algn="l" defTabSz="955147" rtl="0" fontAlgn="base">
              <a:spcBef>
                <a:spcPct val="0"/>
              </a:spcBef>
              <a:spcAft>
                <a:spcPct val="0"/>
              </a:spcAft>
              <a:buNone/>
              <a:defRPr lang="en-US" sz="2300" b="1" i="1" kern="1200" dirty="0" smtClean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  <a:lvl2pPr marL="435950" indent="0">
              <a:buNone/>
              <a:defRPr sz="1600"/>
            </a:lvl2pPr>
            <a:lvl3pPr marL="871896" indent="0">
              <a:buNone/>
              <a:defRPr sz="1500"/>
            </a:lvl3pPr>
            <a:lvl4pPr marL="1307844" indent="0">
              <a:buNone/>
              <a:defRPr sz="1500"/>
            </a:lvl4pPr>
            <a:lvl5pPr marL="1743798" indent="0">
              <a:buNone/>
              <a:defRPr sz="1500"/>
            </a:lvl5pPr>
            <a:lvl6pPr marL="2179741" indent="0">
              <a:buNone/>
              <a:defRPr sz="1500"/>
            </a:lvl6pPr>
            <a:lvl7pPr marL="2615690" indent="0">
              <a:buNone/>
              <a:defRPr sz="1500"/>
            </a:lvl7pPr>
            <a:lvl8pPr marL="3051634" indent="0">
              <a:buNone/>
              <a:defRPr sz="1500"/>
            </a:lvl8pPr>
            <a:lvl9pPr marL="3487584" indent="0">
              <a:buNone/>
              <a:defRPr sz="15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30886" y="4705851"/>
            <a:ext cx="2039229" cy="3343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buNone/>
              <a:defRPr lang="ru-RU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9449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56512" y="6400988"/>
            <a:ext cx="807156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487" tIns="47747" rIns="95487" bIns="47747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500" b="1" i="1">
                <a:solidFill>
                  <a:srgbClr val="008080"/>
                </a:solidFill>
              </a:defRPr>
            </a:lvl1pPr>
          </a:lstStyle>
          <a:p>
            <a:pPr>
              <a:defRPr/>
            </a:pPr>
            <a:fld id="{62904C63-2B24-46AF-B25E-66CB8A4EF8F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4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9405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0051161"/>
              </p:ext>
            </p:extLst>
          </p:nvPr>
        </p:nvGraphicFramePr>
        <p:xfrm>
          <a:off x="1692" y="1595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95" name="think-cell Slide" r:id="rId4" imgW="572" imgH="572" progId="TCLayout.ActiveDocument.1">
                  <p:embed/>
                </p:oleObj>
              </mc:Choice>
              <mc:Fallback>
                <p:oleObj name="think-cell Slide" r:id="rId4" imgW="572" imgH="5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92" y="1595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4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38835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B50031-0E1C-4B01-8CDA-AD1DD1D4619A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4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5140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lIns="95598" tIns="47802" rIns="95598" bIns="47802"/>
          <a:lstStyle>
            <a:lvl1pPr algn="l">
              <a:defRPr sz="18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8DE6EC-471B-4DBC-BA50-472EFF704252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313112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56512" y="6400995"/>
            <a:ext cx="807156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487" tIns="47747" rIns="95487" bIns="47747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500" b="1" i="1">
                <a:solidFill>
                  <a:srgbClr val="008080"/>
                </a:solidFill>
              </a:defRPr>
            </a:lvl1pPr>
          </a:lstStyle>
          <a:p>
            <a:pPr>
              <a:defRPr/>
            </a:pPr>
            <a:fld id="{62904C63-2B24-46AF-B25E-66CB8A4EF8F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4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85595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F6406FF-8112-4C13-A75D-A91A63D61220}" type="slidenum">
              <a:rPr lang="ru-RU" smtClean="0">
                <a:solidFill>
                  <a:srgbClr val="008080"/>
                </a:solidFill>
              </a:rPr>
              <a:pPr/>
              <a:t>‹#›</a:t>
            </a:fld>
            <a:endParaRPr lang="ru-RU">
              <a:solidFill>
                <a:srgbClr val="0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6300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4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9767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4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8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40179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4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8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24381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4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8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0134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8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98934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3"/>
            <a:ext cx="807156" cy="31282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4D1E8E-17D7-498E-AA07-835C8E7A424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" y="4929978"/>
            <a:ext cx="9902943" cy="192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9" y="597068"/>
            <a:ext cx="73379" cy="3072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785" y="1308584"/>
            <a:ext cx="8420100" cy="136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478" tIns="47741" rIns="95478" bIns="47741" anchor="ctr"/>
          <a:lstStyle>
            <a:lvl1pPr algn="l" defTabSz="955147" rtl="0" fontAlgn="base">
              <a:spcBef>
                <a:spcPct val="0"/>
              </a:spcBef>
              <a:spcAft>
                <a:spcPct val="0"/>
              </a:spcAft>
              <a:defRPr lang="ru-RU" sz="3400" b="1" kern="1200" dirty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8785" y="2721689"/>
            <a:ext cx="8420100" cy="83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478" tIns="47741" rIns="95478" bIns="47741" anchor="t" anchorCtr="0"/>
          <a:lstStyle>
            <a:lvl1pPr marL="0" indent="0" algn="l" defTabSz="955147" rtl="0" fontAlgn="base">
              <a:spcBef>
                <a:spcPct val="0"/>
              </a:spcBef>
              <a:spcAft>
                <a:spcPct val="0"/>
              </a:spcAft>
              <a:buNone/>
              <a:defRPr lang="en-US" sz="2300" b="1" i="1" kern="1200" dirty="0" smtClean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  <a:lvl2pPr marL="435950" indent="0">
              <a:buNone/>
              <a:defRPr sz="1600"/>
            </a:lvl2pPr>
            <a:lvl3pPr marL="871896" indent="0">
              <a:buNone/>
              <a:defRPr sz="1500"/>
            </a:lvl3pPr>
            <a:lvl4pPr marL="1307844" indent="0">
              <a:buNone/>
              <a:defRPr sz="1500"/>
            </a:lvl4pPr>
            <a:lvl5pPr marL="1743798" indent="0">
              <a:buNone/>
              <a:defRPr sz="1500"/>
            </a:lvl5pPr>
            <a:lvl6pPr marL="2179741" indent="0">
              <a:buNone/>
              <a:defRPr sz="1500"/>
            </a:lvl6pPr>
            <a:lvl7pPr marL="2615690" indent="0">
              <a:buNone/>
              <a:defRPr sz="1500"/>
            </a:lvl7pPr>
            <a:lvl8pPr marL="3051634" indent="0">
              <a:buNone/>
              <a:defRPr sz="1500"/>
            </a:lvl8pPr>
            <a:lvl9pPr marL="3487584" indent="0">
              <a:buNone/>
              <a:defRPr sz="15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30886" y="4705851"/>
            <a:ext cx="2039229" cy="3343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buNone/>
              <a:defRPr lang="ru-RU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1996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267727" y="286503"/>
            <a:ext cx="6765248" cy="379052"/>
          </a:xfrm>
          <a:prstGeom prst="rect">
            <a:avLst/>
          </a:prstGeom>
          <a:noFill/>
        </p:spPr>
        <p:txBody>
          <a:bodyPr lIns="87290" tIns="43644" rIns="87290" bIns="43644"/>
          <a:lstStyle/>
          <a:p>
            <a:pPr defTabSz="95514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kern="0" dirty="0">
                <a:solidFill>
                  <a:srgbClr val="008080"/>
                </a:solidFill>
              </a:rPr>
              <a:t>  AGENDA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8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21804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683" y="286644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8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87307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77"/>
            <a:ext cx="807156" cy="31282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4D1E8E-17D7-498E-AA07-835C8E7A424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" y="4929973"/>
            <a:ext cx="9902943" cy="192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9" y="597068"/>
            <a:ext cx="73379" cy="3072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785" y="1308584"/>
            <a:ext cx="8420100" cy="136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478" tIns="47741" rIns="95478" bIns="47741" anchor="ctr"/>
          <a:lstStyle>
            <a:lvl1pPr algn="l" defTabSz="955147" rtl="0" fontAlgn="base">
              <a:spcBef>
                <a:spcPct val="0"/>
              </a:spcBef>
              <a:spcAft>
                <a:spcPct val="0"/>
              </a:spcAft>
              <a:defRPr lang="ru-RU" sz="3400" b="1" kern="1200" dirty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8785" y="2721683"/>
            <a:ext cx="8420100" cy="83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478" tIns="47741" rIns="95478" bIns="47741" anchor="t" anchorCtr="0"/>
          <a:lstStyle>
            <a:lvl1pPr marL="0" indent="0" algn="l" defTabSz="955147" rtl="0" fontAlgn="base">
              <a:spcBef>
                <a:spcPct val="0"/>
              </a:spcBef>
              <a:spcAft>
                <a:spcPct val="0"/>
              </a:spcAft>
              <a:buNone/>
              <a:defRPr lang="en-US" sz="2300" b="1" i="1" kern="1200" dirty="0" smtClean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  <a:lvl2pPr marL="435950" indent="0">
              <a:buNone/>
              <a:defRPr sz="1600"/>
            </a:lvl2pPr>
            <a:lvl3pPr marL="871896" indent="0">
              <a:buNone/>
              <a:defRPr sz="1500"/>
            </a:lvl3pPr>
            <a:lvl4pPr marL="1307844" indent="0">
              <a:buNone/>
              <a:defRPr sz="1500"/>
            </a:lvl4pPr>
            <a:lvl5pPr marL="1743798" indent="0">
              <a:buNone/>
              <a:defRPr sz="1500"/>
            </a:lvl5pPr>
            <a:lvl6pPr marL="2179741" indent="0">
              <a:buNone/>
              <a:defRPr sz="1500"/>
            </a:lvl6pPr>
            <a:lvl7pPr marL="2615690" indent="0">
              <a:buNone/>
              <a:defRPr sz="1500"/>
            </a:lvl7pPr>
            <a:lvl8pPr marL="3051634" indent="0">
              <a:buNone/>
              <a:defRPr sz="1500"/>
            </a:lvl8pPr>
            <a:lvl9pPr marL="3487584" indent="0">
              <a:buNone/>
              <a:defRPr sz="15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30886" y="4705845"/>
            <a:ext cx="2039229" cy="3343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buNone/>
              <a:defRPr lang="ru-RU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3554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4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8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56487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F6406FF-8112-4C13-A75D-A91A63D61220}" type="slidenum">
              <a:rPr lang="ru-RU" smtClean="0">
                <a:solidFill>
                  <a:srgbClr val="008080"/>
                </a:solidFill>
              </a:rPr>
              <a:pPr/>
              <a:t>‹#›</a:t>
            </a:fld>
            <a:endParaRPr lang="ru-RU">
              <a:solidFill>
                <a:srgbClr val="0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4323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4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8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3859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4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8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00506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4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8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05766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71"/>
            <a:ext cx="807156" cy="31282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4D1E8E-17D7-498E-AA07-835C8E7A424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" y="4929966"/>
            <a:ext cx="9902943" cy="192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479" y="597068"/>
            <a:ext cx="73379" cy="3072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785" y="1308584"/>
            <a:ext cx="8420100" cy="136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478" tIns="47741" rIns="95478" bIns="47741" anchor="ctr"/>
          <a:lstStyle>
            <a:lvl1pPr algn="l" defTabSz="955147" rtl="0" fontAlgn="base">
              <a:spcBef>
                <a:spcPct val="0"/>
              </a:spcBef>
              <a:spcAft>
                <a:spcPct val="0"/>
              </a:spcAft>
              <a:defRPr lang="ru-RU" sz="3400" b="1" kern="1200" dirty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8785" y="2721677"/>
            <a:ext cx="8420100" cy="83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478" tIns="47741" rIns="95478" bIns="47741" anchor="t" anchorCtr="0"/>
          <a:lstStyle>
            <a:lvl1pPr marL="0" indent="0" algn="l" defTabSz="955147" rtl="0" fontAlgn="base">
              <a:spcBef>
                <a:spcPct val="0"/>
              </a:spcBef>
              <a:spcAft>
                <a:spcPct val="0"/>
              </a:spcAft>
              <a:buNone/>
              <a:defRPr lang="en-US" sz="2300" b="1" i="1" kern="1200" dirty="0" smtClean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  <a:lvl2pPr marL="435950" indent="0">
              <a:buNone/>
              <a:defRPr sz="1600"/>
            </a:lvl2pPr>
            <a:lvl3pPr marL="871896" indent="0">
              <a:buNone/>
              <a:defRPr sz="1500"/>
            </a:lvl3pPr>
            <a:lvl4pPr marL="1307844" indent="0">
              <a:buNone/>
              <a:defRPr sz="1500"/>
            </a:lvl4pPr>
            <a:lvl5pPr marL="1743798" indent="0">
              <a:buNone/>
              <a:defRPr sz="1500"/>
            </a:lvl5pPr>
            <a:lvl6pPr marL="2179741" indent="0">
              <a:buNone/>
              <a:defRPr sz="1500"/>
            </a:lvl6pPr>
            <a:lvl7pPr marL="2615690" indent="0">
              <a:buNone/>
              <a:defRPr sz="1500"/>
            </a:lvl7pPr>
            <a:lvl8pPr marL="3051634" indent="0">
              <a:buNone/>
              <a:defRPr sz="1500"/>
            </a:lvl8pPr>
            <a:lvl9pPr marL="3487584" indent="0">
              <a:buNone/>
              <a:defRPr sz="15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30886" y="4705839"/>
            <a:ext cx="2039229" cy="3343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buNone/>
              <a:defRPr lang="ru-RU" sz="1600" b="1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5739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4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8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6375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4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8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42788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4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8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500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84683" y="286644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8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8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89752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42952" y="1981769"/>
            <a:ext cx="4136672" cy="4112394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6379" y="1981769"/>
            <a:ext cx="4136672" cy="4112394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56512" y="6400988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35701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87160" y="466726"/>
            <a:ext cx="6702029" cy="2133600"/>
          </a:xfrm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ru-RU" altLang="en-US" noProof="0" smtClean="0"/>
              <a:t>Образец заголовка</a:t>
            </a:r>
          </a:p>
        </p:txBody>
      </p:sp>
      <p:sp>
        <p:nvSpPr>
          <p:cNvPr id="12800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20089" y="3049588"/>
            <a:ext cx="6769100" cy="23622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500"/>
            </a:lvl1pPr>
          </a:lstStyle>
          <a:p>
            <a:pPr lvl="0"/>
            <a:r>
              <a:rPr lang="ru-RU" altLang="en-US" noProof="0" smtClean="0"/>
              <a:t>Образец подзаголовка</a:t>
            </a: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3938326" y="2416175"/>
            <a:ext cx="4567767" cy="1049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6" tIns="45714" rIns="91426" bIns="45714" anchor="ctr"/>
          <a:lstStyle>
            <a:lvl1pPr marL="342900" indent="-342900"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sz="800" dirty="0">
                <a:solidFill>
                  <a:srgbClr val="008C7F"/>
                </a:solidFill>
              </a:rPr>
              <a:t>НАЗВАНИЕ ПРЕЗЕНТАЦИИ</a:t>
            </a:r>
          </a:p>
        </p:txBody>
      </p:sp>
      <p:sp>
        <p:nvSpPr>
          <p:cNvPr id="11" name="Line 15"/>
          <p:cNvSpPr>
            <a:spLocks noChangeShapeType="1"/>
          </p:cNvSpPr>
          <p:nvPr/>
        </p:nvSpPr>
        <p:spPr bwMode="auto">
          <a:xfrm>
            <a:off x="9013022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46" tIns="43675" rIns="87346" bIns="43675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12" name="Picture 2" descr="C:\Documents and Settings\BelovaDV\Мои документы\Мои рисунки\лого_SIBUR_new_E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69" y="6491436"/>
            <a:ext cx="102375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8772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87160" y="466726"/>
            <a:ext cx="6702029" cy="2133600"/>
          </a:xfrm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ru-RU" altLang="en-US" noProof="0" smtClean="0"/>
              <a:t>Образец заголовка</a:t>
            </a:r>
          </a:p>
        </p:txBody>
      </p:sp>
      <p:sp>
        <p:nvSpPr>
          <p:cNvPr id="12800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20089" y="3049588"/>
            <a:ext cx="6769100" cy="23622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500"/>
            </a:lvl1pPr>
          </a:lstStyle>
          <a:p>
            <a:pPr lvl="0"/>
            <a:r>
              <a:rPr lang="ru-RU" altLang="en-US" noProof="0" smtClean="0"/>
              <a:t>Образец подзаголовка</a:t>
            </a: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3938326" y="2416175"/>
            <a:ext cx="4567767" cy="1049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6" tIns="45714" rIns="91426" bIns="45714" anchor="ctr"/>
          <a:lstStyle>
            <a:lvl1pPr marL="342900" indent="-342900"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sz="800" dirty="0">
                <a:solidFill>
                  <a:srgbClr val="008C7F"/>
                </a:solidFill>
              </a:rPr>
              <a:t>НАЗВАНИЕ ПРЕЗЕНТАЦИИ</a:t>
            </a:r>
          </a:p>
        </p:txBody>
      </p:sp>
      <p:sp>
        <p:nvSpPr>
          <p:cNvPr id="11" name="Line 15"/>
          <p:cNvSpPr>
            <a:spLocks noChangeShapeType="1"/>
          </p:cNvSpPr>
          <p:nvPr/>
        </p:nvSpPr>
        <p:spPr bwMode="auto">
          <a:xfrm>
            <a:off x="9013022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46" tIns="43675" rIns="87346" bIns="43675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12" name="Picture 2" descr="C:\Documents and Settings\BelovaDV\Мои документы\Мои рисунки\лого_SIBUR_new_E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69" y="6491436"/>
            <a:ext cx="102375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2441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Line 15"/>
          <p:cNvSpPr>
            <a:spLocks noChangeShapeType="1"/>
          </p:cNvSpPr>
          <p:nvPr/>
        </p:nvSpPr>
        <p:spPr bwMode="auto">
          <a:xfrm>
            <a:off x="9013022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46" tIns="43675" rIns="87346" bIns="43675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9" name="Picture 2" descr="C:\Documents and Settings\BelovaDV\Мои документы\Мои рисунки\лого_SIBUR_new_E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69" y="6491436"/>
            <a:ext cx="102375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2687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Line 15"/>
          <p:cNvSpPr>
            <a:spLocks noChangeShapeType="1"/>
          </p:cNvSpPr>
          <p:nvPr/>
        </p:nvSpPr>
        <p:spPr bwMode="auto">
          <a:xfrm>
            <a:off x="9013022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46" tIns="43675" rIns="87346" bIns="43675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0040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15"/>
          <p:cNvSpPr>
            <a:spLocks noChangeShapeType="1"/>
          </p:cNvSpPr>
          <p:nvPr/>
        </p:nvSpPr>
        <p:spPr bwMode="auto">
          <a:xfrm>
            <a:off x="9013022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46" tIns="43675" rIns="87346" bIns="43675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6" name="Picture 2" descr="C:\Documents and Settings\BelovaDV\Мои документы\Мои рисунки\лого_SIBUR_new_E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69" y="6491436"/>
            <a:ext cx="102375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2212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683" y="286604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9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1083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17338" y="97738"/>
            <a:ext cx="8993363" cy="599793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1512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42950" y="609098"/>
            <a:ext cx="84201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742950" y="1980700"/>
            <a:ext cx="8420100" cy="41148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214607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61" y="185739"/>
            <a:ext cx="7702947" cy="62706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95300" y="1397004"/>
            <a:ext cx="8915400" cy="4733926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8053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73"/>
            <a:ext cx="8420100" cy="1362076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30" indent="0">
              <a:buNone/>
              <a:defRPr sz="1800"/>
            </a:lvl2pPr>
            <a:lvl3pPr marL="914262" indent="0">
              <a:buNone/>
              <a:defRPr sz="1600"/>
            </a:lvl3pPr>
            <a:lvl4pPr marL="1371390" indent="0">
              <a:buNone/>
              <a:defRPr sz="1400"/>
            </a:lvl4pPr>
            <a:lvl5pPr marL="1828520" indent="0">
              <a:buNone/>
              <a:defRPr sz="1400"/>
            </a:lvl5pPr>
            <a:lvl6pPr marL="2285652" indent="0">
              <a:buNone/>
              <a:defRPr sz="1400"/>
            </a:lvl6pPr>
            <a:lvl7pPr marL="2742781" indent="0">
              <a:buNone/>
              <a:defRPr sz="1400"/>
            </a:lvl7pPr>
            <a:lvl8pPr marL="3199911" indent="0">
              <a:buNone/>
              <a:defRPr sz="1400"/>
            </a:lvl8pPr>
            <a:lvl9pPr marL="3657042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52413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683" y="286542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21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2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72279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B50031-0E1C-4B01-8CDA-AD1DD1D4619A}" type="slidenum">
              <a:rPr lang="ru-RU"/>
              <a:pPr>
                <a:defRPr/>
              </a:pPr>
              <a:t>‹#›</a:t>
            </a:fld>
            <a:r>
              <a:rPr lang="ru-RU" sz="12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840281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Line 15"/>
          <p:cNvSpPr>
            <a:spLocks noChangeShapeType="1"/>
          </p:cNvSpPr>
          <p:nvPr/>
        </p:nvSpPr>
        <p:spPr bwMode="auto">
          <a:xfrm>
            <a:off x="9013022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46" tIns="43675" rIns="87346" bIns="43675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9" name="Picture 2" descr="C:\Documents and Settings\BelovaDV\Мои документы\Мои рисунки\лого_SIBUR_new_E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69" y="6491436"/>
            <a:ext cx="102375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5203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108069" tIns="54035" rIns="108069" bIns="5403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8DE6EC-471B-4DBC-BA50-472EFF704252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9197547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22" y="185739"/>
            <a:ext cx="7702947" cy="62706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95300" y="1397000"/>
            <a:ext cx="8915400" cy="4733926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878712" y="6400851"/>
            <a:ext cx="807156" cy="31282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2F66D3-618A-4DE9-A68B-80AA82638281}" type="slidenum">
              <a:rPr lang="ru-RU"/>
              <a:pPr>
                <a:defRPr/>
              </a:pPr>
              <a:t>‹#›</a:t>
            </a:fld>
            <a:r>
              <a:rPr lang="ru-RU" sz="1200" dirty="0">
                <a:solidFill>
                  <a:srgbClr val="80808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092210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4D1E8E-17D7-498E-AA07-835C8E7A4240}" type="slidenum">
              <a:rPr lang="ru-RU"/>
              <a:pPr>
                <a:defRPr/>
              </a:pPr>
              <a:t>‹#›</a:t>
            </a:fld>
            <a:r>
              <a:rPr lang="ru-RU" sz="1200" dirty="0">
                <a:solidFill>
                  <a:srgbClr val="808080"/>
                </a:solidFill>
              </a:rPr>
              <a:t>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59" y="4929979"/>
            <a:ext cx="9902943" cy="192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1478" y="597068"/>
            <a:ext cx="73379" cy="3072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8784" y="1308584"/>
            <a:ext cx="8420100" cy="1362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934" tIns="53967" rIns="107934" bIns="53967" anchor="ctr"/>
          <a:lstStyle>
            <a:lvl1pPr algn="l" defTabSz="1079725" rtl="0" fontAlgn="base">
              <a:spcBef>
                <a:spcPct val="0"/>
              </a:spcBef>
              <a:spcAft>
                <a:spcPct val="0"/>
              </a:spcAft>
              <a:defRPr lang="ru-RU" sz="3800" b="1" kern="1200" dirty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8784" y="2721582"/>
            <a:ext cx="8420100" cy="83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934" tIns="53967" rIns="107934" bIns="53967" anchor="t" anchorCtr="0"/>
          <a:lstStyle>
            <a:lvl1pPr marL="0" indent="0" algn="l" defTabSz="1079725" rtl="0" fontAlgn="base">
              <a:spcBef>
                <a:spcPct val="0"/>
              </a:spcBef>
              <a:spcAft>
                <a:spcPct val="0"/>
              </a:spcAft>
              <a:buNone/>
              <a:defRPr lang="en-US" sz="2600" b="1" i="1" kern="1200" dirty="0" smtClean="0">
                <a:solidFill>
                  <a:srgbClr val="006666"/>
                </a:solidFill>
                <a:latin typeface="Arial" charset="0"/>
                <a:ea typeface="+mn-ea"/>
                <a:cs typeface="+mn-cs"/>
              </a:defRPr>
            </a:lvl1pPr>
            <a:lvl2pPr marL="492808" indent="0">
              <a:buNone/>
              <a:defRPr sz="1900"/>
            </a:lvl2pPr>
            <a:lvl3pPr marL="985611" indent="0">
              <a:buNone/>
              <a:defRPr sz="1700"/>
            </a:lvl3pPr>
            <a:lvl4pPr marL="1478419" indent="0">
              <a:buNone/>
              <a:defRPr sz="1500"/>
            </a:lvl4pPr>
            <a:lvl5pPr marL="1971228" indent="0">
              <a:buNone/>
              <a:defRPr sz="1500"/>
            </a:lvl5pPr>
            <a:lvl6pPr marL="2464033" indent="0">
              <a:buNone/>
              <a:defRPr sz="1500"/>
            </a:lvl6pPr>
            <a:lvl7pPr marL="2956837" indent="0">
              <a:buNone/>
              <a:defRPr sz="1500"/>
            </a:lvl7pPr>
            <a:lvl8pPr marL="3449642" indent="0">
              <a:buNone/>
              <a:defRPr sz="1500"/>
            </a:lvl8pPr>
            <a:lvl9pPr marL="3942450" indent="0">
              <a:buNone/>
              <a:defRPr sz="15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83643" y="396249"/>
            <a:ext cx="1820065" cy="532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67023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987160" y="466726"/>
            <a:ext cx="6702029" cy="2133600"/>
          </a:xfrm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ru-RU" altLang="en-US" noProof="0" smtClean="0"/>
              <a:t>Образец заголовка</a:t>
            </a:r>
          </a:p>
        </p:txBody>
      </p:sp>
      <p:sp>
        <p:nvSpPr>
          <p:cNvPr id="12800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920089" y="3049588"/>
            <a:ext cx="6769100" cy="23622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500"/>
            </a:lvl1pPr>
          </a:lstStyle>
          <a:p>
            <a:pPr lvl="0"/>
            <a:r>
              <a:rPr lang="ru-RU" altLang="en-US" noProof="0" smtClean="0"/>
              <a:t>Образец подзаголовка</a:t>
            </a: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3938326" y="2416175"/>
            <a:ext cx="4567767" cy="1049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6" tIns="45714" rIns="91426" bIns="45714" anchor="ctr"/>
          <a:lstStyle>
            <a:lvl1pPr marL="342900" indent="-342900"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ru-RU" sz="800" dirty="0">
                <a:solidFill>
                  <a:srgbClr val="008C7F"/>
                </a:solidFill>
              </a:rPr>
              <a:t>НАЗВАНИЕ ПРЕЗЕНТАЦИИ</a:t>
            </a:r>
          </a:p>
        </p:txBody>
      </p:sp>
      <p:sp>
        <p:nvSpPr>
          <p:cNvPr id="11" name="Line 15"/>
          <p:cNvSpPr>
            <a:spLocks noChangeShapeType="1"/>
          </p:cNvSpPr>
          <p:nvPr/>
        </p:nvSpPr>
        <p:spPr bwMode="auto">
          <a:xfrm>
            <a:off x="9013022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46" tIns="43675" rIns="87346" bIns="43675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12" name="Picture 2" descr="C:\Documents and Settings\BelovaDV\Мои документы\Мои рисунки\лого_SIBUR_new_E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69" y="6491436"/>
            <a:ext cx="102375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7896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Line 15"/>
          <p:cNvSpPr>
            <a:spLocks noChangeShapeType="1"/>
          </p:cNvSpPr>
          <p:nvPr/>
        </p:nvSpPr>
        <p:spPr bwMode="auto">
          <a:xfrm>
            <a:off x="9013022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46" tIns="43675" rIns="87346" bIns="43675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9" name="Picture 2" descr="C:\Documents and Settings\BelovaDV\Мои документы\Мои рисунки\лого_SIBUR_new_E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69" y="6491436"/>
            <a:ext cx="102375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1332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Line 15"/>
          <p:cNvSpPr>
            <a:spLocks noChangeShapeType="1"/>
          </p:cNvSpPr>
          <p:nvPr/>
        </p:nvSpPr>
        <p:spPr bwMode="auto">
          <a:xfrm>
            <a:off x="9013022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46" tIns="43675" rIns="87346" bIns="43675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7179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15"/>
          <p:cNvSpPr>
            <a:spLocks noChangeShapeType="1"/>
          </p:cNvSpPr>
          <p:nvPr/>
        </p:nvSpPr>
        <p:spPr bwMode="auto">
          <a:xfrm>
            <a:off x="9013022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46" tIns="43675" rIns="87346" bIns="43675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6" name="Picture 2" descr="C:\Documents and Settings\BelovaDV\Мои документы\Мои рисунки\лого_SIBUR_new_E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69" y="6491436"/>
            <a:ext cx="102375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7512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683" y="286604"/>
            <a:ext cx="8420100" cy="759493"/>
          </a:xfrm>
          <a:prstGeom prst="rect">
            <a:avLst/>
          </a:prstGeom>
        </p:spPr>
        <p:txBody>
          <a:bodyPr/>
          <a:lstStyle>
            <a:lvl1pPr algn="l">
              <a:defRPr sz="1900" b="1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847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17338" y="97738"/>
            <a:ext cx="8993363" cy="599793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25889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42950" y="609098"/>
            <a:ext cx="84201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742950" y="1980700"/>
            <a:ext cx="8420100" cy="41148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3728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jpe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3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oleObject" Target="../embeddings/oleObject24.bin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tags" Target="../tags/tag25.xml"/><Relationship Id="rId17" Type="http://schemas.openxmlformats.org/officeDocument/2006/relationships/image" Target="../media/image9.jpeg"/><Relationship Id="rId2" Type="http://schemas.openxmlformats.org/officeDocument/2006/relationships/slideLayout" Target="../slideLayouts/slideLayout94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vmlDrawing" Target="../drawings/vmlDrawing24.vml"/><Relationship Id="rId5" Type="http://schemas.openxmlformats.org/officeDocument/2006/relationships/slideLayout" Target="../slideLayouts/slideLayout97.xml"/><Relationship Id="rId15" Type="http://schemas.openxmlformats.org/officeDocument/2006/relationships/image" Target="../media/image7.png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image" Target="../media/image6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slideLayout" Target="../slideLayouts/slideLayout114.xml"/><Relationship Id="rId18" Type="http://schemas.openxmlformats.org/officeDocument/2006/relationships/slideLayout" Target="../slideLayouts/slideLayout119.xml"/><Relationship Id="rId26" Type="http://schemas.openxmlformats.org/officeDocument/2006/relationships/theme" Target="../theme/theme11.xml"/><Relationship Id="rId3" Type="http://schemas.openxmlformats.org/officeDocument/2006/relationships/slideLayout" Target="../slideLayouts/slideLayout104.xml"/><Relationship Id="rId21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slideLayout" Target="../slideLayouts/slideLayout118.xml"/><Relationship Id="rId25" Type="http://schemas.openxmlformats.org/officeDocument/2006/relationships/slideLayout" Target="../slideLayouts/slideLayout126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103.xml"/><Relationship Id="rId16" Type="http://schemas.openxmlformats.org/officeDocument/2006/relationships/slideLayout" Target="../slideLayouts/slideLayout117.xml"/><Relationship Id="rId20" Type="http://schemas.openxmlformats.org/officeDocument/2006/relationships/slideLayout" Target="../slideLayouts/slideLayout121.xml"/><Relationship Id="rId29" Type="http://schemas.openxmlformats.org/officeDocument/2006/relationships/oleObject" Target="../embeddings/oleObject25.bin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24" Type="http://schemas.openxmlformats.org/officeDocument/2006/relationships/slideLayout" Target="../slideLayouts/slideLayout125.xml"/><Relationship Id="rId32" Type="http://schemas.openxmlformats.org/officeDocument/2006/relationships/image" Target="../media/image7.png"/><Relationship Id="rId5" Type="http://schemas.openxmlformats.org/officeDocument/2006/relationships/slideLayout" Target="../slideLayouts/slideLayout106.xml"/><Relationship Id="rId15" Type="http://schemas.openxmlformats.org/officeDocument/2006/relationships/slideLayout" Target="../slideLayouts/slideLayout116.xml"/><Relationship Id="rId23" Type="http://schemas.openxmlformats.org/officeDocument/2006/relationships/slideLayout" Target="../slideLayouts/slideLayout124.xml"/><Relationship Id="rId28" Type="http://schemas.openxmlformats.org/officeDocument/2006/relationships/tags" Target="../tags/tag26.xml"/><Relationship Id="rId10" Type="http://schemas.openxmlformats.org/officeDocument/2006/relationships/slideLayout" Target="../slideLayouts/slideLayout111.xml"/><Relationship Id="rId19" Type="http://schemas.openxmlformats.org/officeDocument/2006/relationships/slideLayout" Target="../slideLayouts/slideLayout120.xml"/><Relationship Id="rId31" Type="http://schemas.openxmlformats.org/officeDocument/2006/relationships/image" Target="../media/image4.jpeg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Relationship Id="rId22" Type="http://schemas.openxmlformats.org/officeDocument/2006/relationships/slideLayout" Target="../slideLayouts/slideLayout123.xml"/><Relationship Id="rId27" Type="http://schemas.openxmlformats.org/officeDocument/2006/relationships/vmlDrawing" Target="../drawings/vmlDrawing25.vml"/><Relationship Id="rId30" Type="http://schemas.openxmlformats.org/officeDocument/2006/relationships/image" Target="../media/image1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slideLayout" Target="../slideLayouts/slideLayout129.xml"/><Relationship Id="rId7" Type="http://schemas.openxmlformats.org/officeDocument/2006/relationships/tags" Target="../tags/tag28.xml"/><Relationship Id="rId12" Type="http://schemas.openxmlformats.org/officeDocument/2006/relationships/image" Target="../media/image4.jpeg"/><Relationship Id="rId2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27.xml"/><Relationship Id="rId6" Type="http://schemas.openxmlformats.org/officeDocument/2006/relationships/vmlDrawing" Target="../drawings/vmlDrawing27.vml"/><Relationship Id="rId11" Type="http://schemas.openxmlformats.org/officeDocument/2006/relationships/image" Target="../media/image3.png"/><Relationship Id="rId5" Type="http://schemas.openxmlformats.org/officeDocument/2006/relationships/theme" Target="../theme/theme1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30.xml"/><Relationship Id="rId9" Type="http://schemas.openxmlformats.org/officeDocument/2006/relationships/image" Target="../media/image1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33.xml"/><Relationship Id="rId7" Type="http://schemas.openxmlformats.org/officeDocument/2006/relationships/vmlDrawing" Target="../drawings/vmlDrawing31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31.xml"/><Relationship Id="rId6" Type="http://schemas.openxmlformats.org/officeDocument/2006/relationships/theme" Target="../theme/theme13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35.xml"/><Relationship Id="rId10" Type="http://schemas.openxmlformats.org/officeDocument/2006/relationships/image" Target="../media/image12.emf"/><Relationship Id="rId4" Type="http://schemas.openxmlformats.org/officeDocument/2006/relationships/slideLayout" Target="../slideLayouts/slideLayout134.xml"/><Relationship Id="rId9" Type="http://schemas.openxmlformats.org/officeDocument/2006/relationships/oleObject" Target="../embeddings/oleObject31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oleObject" Target="../embeddings/oleObject32.bin"/><Relationship Id="rId2" Type="http://schemas.openxmlformats.org/officeDocument/2006/relationships/slideLayout" Target="../slideLayouts/slideLayout137.xml"/><Relationship Id="rId16" Type="http://schemas.openxmlformats.org/officeDocument/2006/relationships/image" Target="../media/image9.jpeg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tags" Target="../tags/tag33.xml"/><Relationship Id="rId5" Type="http://schemas.openxmlformats.org/officeDocument/2006/relationships/slideLayout" Target="../slideLayouts/slideLayout140.xml"/><Relationship Id="rId15" Type="http://schemas.openxmlformats.org/officeDocument/2006/relationships/image" Target="../media/image8.png"/><Relationship Id="rId10" Type="http://schemas.openxmlformats.org/officeDocument/2006/relationships/vmlDrawing" Target="../drawings/vmlDrawing32.vml"/><Relationship Id="rId4" Type="http://schemas.openxmlformats.org/officeDocument/2006/relationships/slideLayout" Target="../slideLayouts/slideLayout139.xml"/><Relationship Id="rId9" Type="http://schemas.openxmlformats.org/officeDocument/2006/relationships/theme" Target="../theme/theme14.xml"/><Relationship Id="rId14" Type="http://schemas.openxmlformats.org/officeDocument/2006/relationships/image" Target="../media/image7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9.jpeg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7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8.png"/><Relationship Id="rId10" Type="http://schemas.openxmlformats.org/officeDocument/2006/relationships/vmlDrawing" Target="../drawings/vmlDrawing6.vml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2.xml"/><Relationship Id="rId14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7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3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8.xml"/><Relationship Id="rId14" Type="http://schemas.openxmlformats.org/officeDocument/2006/relationships/image" Target="../media/image4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4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ags" Target="../tags/tag12.xml"/><Relationship Id="rId11" Type="http://schemas.openxmlformats.org/officeDocument/2006/relationships/image" Target="../media/image4.jpeg"/><Relationship Id="rId5" Type="http://schemas.openxmlformats.org/officeDocument/2006/relationships/vmlDrawing" Target="../drawings/vmlDrawing11.vml"/><Relationship Id="rId10" Type="http://schemas.openxmlformats.org/officeDocument/2006/relationships/image" Target="../media/image3.png"/><Relationship Id="rId4" Type="http://schemas.openxmlformats.org/officeDocument/2006/relationships/theme" Target="../theme/theme4.xml"/><Relationship Id="rId9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slideLayout" Target="../slideLayouts/slideLayout27.xml"/><Relationship Id="rId7" Type="http://schemas.openxmlformats.org/officeDocument/2006/relationships/tags" Target="../tags/tag16.xml"/><Relationship Id="rId12" Type="http://schemas.openxmlformats.org/officeDocument/2006/relationships/image" Target="../media/image4.jpeg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vmlDrawing" Target="../drawings/vmlDrawing15.vml"/><Relationship Id="rId11" Type="http://schemas.openxmlformats.org/officeDocument/2006/relationships/image" Target="../media/image3.png"/><Relationship Id="rId5" Type="http://schemas.openxmlformats.org/officeDocument/2006/relationships/theme" Target="../theme/theme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theme" Target="../theme/theme6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oleObject" Target="../embeddings/oleObject19.bin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image" Target="../media/image10.png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tags" Target="../tags/tag20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image" Target="../media/image4.jpeg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vmlDrawing" Target="../drawings/vmlDrawing19.vml"/><Relationship Id="rId30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theme" Target="../theme/theme7.xml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29" Type="http://schemas.openxmlformats.org/officeDocument/2006/relationships/oleObject" Target="../embeddings/oleObject21.bin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32" Type="http://schemas.openxmlformats.org/officeDocument/2006/relationships/image" Target="../media/image10.png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tags" Target="../tags/tag22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31" Type="http://schemas.openxmlformats.org/officeDocument/2006/relationships/image" Target="../media/image4.jpeg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vmlDrawing" Target="../drawings/vmlDrawing21.vml"/><Relationship Id="rId30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oleObject" Target="../embeddings/oleObject23.bin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tags" Target="../tags/tag24.xml"/><Relationship Id="rId17" Type="http://schemas.openxmlformats.org/officeDocument/2006/relationships/image" Target="../media/image9.jpeg"/><Relationship Id="rId2" Type="http://schemas.openxmlformats.org/officeDocument/2006/relationships/slideLayout" Target="../slideLayouts/slideLayout80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vmlDrawing" Target="../drawings/vmlDrawing23.vml"/><Relationship Id="rId5" Type="http://schemas.openxmlformats.org/officeDocument/2006/relationships/slideLayout" Target="../slideLayouts/slideLayout83.xml"/><Relationship Id="rId15" Type="http://schemas.openxmlformats.org/officeDocument/2006/relationships/image" Target="../media/image7.png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image" Target="../media/image6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90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92.xml"/><Relationship Id="rId4" Type="http://schemas.openxmlformats.org/officeDocument/2006/relationships/slideLayout" Target="../slideLayouts/slideLayout91.xml"/><Relationship Id="rId9" Type="http://schemas.openxmlformats.org/officeDocument/2006/relationships/image" Target="../media/image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936317135"/>
              </p:ext>
            </p:extLst>
          </p:nvPr>
        </p:nvGraphicFramePr>
        <p:xfrm>
          <a:off x="1644" y="1650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0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4" y="1650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735" y="6400915"/>
            <a:ext cx="807156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07928" tIns="53962" rIns="107928" bIns="53962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500" b="1" i="1">
                <a:solidFill>
                  <a:srgbClr val="008080"/>
                </a:solidFill>
              </a:defRPr>
            </a:lvl1pPr>
          </a:lstStyle>
          <a:p>
            <a:pPr defTabSz="1031468" fontAlgn="base">
              <a:spcAft>
                <a:spcPct val="0"/>
              </a:spcAft>
              <a:defRPr/>
            </a:pPr>
            <a:fld id="{62904C63-2B24-46AF-B25E-66CB8A4EF8F1}" type="slidenum">
              <a:rPr lang="ru-RU" smtClean="0"/>
              <a:pPr defTabSz="1031468" fontAlgn="base">
                <a:spcAft>
                  <a:spcPct val="0"/>
                </a:spcAft>
                <a:defRPr/>
              </a:pPr>
              <a:t>‹#›</a:t>
            </a:fld>
            <a:r>
              <a:rPr lang="ru-RU" sz="1200" smtClean="0">
                <a:solidFill>
                  <a:srgbClr val="808080"/>
                </a:solidFill>
              </a:rPr>
              <a:t> </a:t>
            </a:r>
            <a:endParaRPr lang="ru-RU" sz="1200" dirty="0">
              <a:solidFill>
                <a:srgbClr val="808080"/>
              </a:solidFill>
            </a:endParaRPr>
          </a:p>
        </p:txBody>
      </p:sp>
      <p:sp>
        <p:nvSpPr>
          <p:cNvPr id="1039" name="Line 15"/>
          <p:cNvSpPr>
            <a:spLocks noChangeShapeType="1"/>
          </p:cNvSpPr>
          <p:nvPr/>
        </p:nvSpPr>
        <p:spPr bwMode="auto">
          <a:xfrm>
            <a:off x="9098844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98546" tIns="49275" rIns="98546" bIns="49275" anchor="ctr"/>
          <a:lstStyle/>
          <a:p>
            <a:pPr defTabSz="1031468"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2000">
              <a:solidFill>
                <a:srgbClr val="000000"/>
              </a:solidFill>
            </a:endParaRPr>
          </a:p>
        </p:txBody>
      </p:sp>
      <p:grpSp>
        <p:nvGrpSpPr>
          <p:cNvPr id="77" name="Group 76"/>
          <p:cNvGrpSpPr/>
          <p:nvPr/>
        </p:nvGrpSpPr>
        <p:grpSpPr>
          <a:xfrm>
            <a:off x="-894292" y="111"/>
            <a:ext cx="669572" cy="3260401"/>
            <a:chOff x="-928688" y="0"/>
            <a:chExt cx="695325" cy="3441534"/>
          </a:xfrm>
        </p:grpSpPr>
        <p:sp>
          <p:nvSpPr>
            <p:cNvPr id="55" name="Rectangle 54"/>
            <p:cNvSpPr/>
            <p:nvPr userDrawn="1"/>
          </p:nvSpPr>
          <p:spPr bwMode="auto">
            <a:xfrm>
              <a:off x="-928688" y="0"/>
              <a:ext cx="695325" cy="276225"/>
            </a:xfrm>
            <a:prstGeom prst="rect">
              <a:avLst/>
            </a:prstGeom>
            <a:solidFill>
              <a:srgbClr val="0080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FFFFFF"/>
                  </a:solidFill>
                </a:rPr>
                <a:t>0.128.128</a:t>
              </a:r>
              <a:endParaRPr lang="es-ES_tradnl" sz="900" b="0" dirty="0">
                <a:solidFill>
                  <a:srgbClr val="FFFFFF"/>
                </a:solidFill>
              </a:endParaRPr>
            </a:p>
          </p:txBody>
        </p:sp>
        <p:sp>
          <p:nvSpPr>
            <p:cNvPr id="56" name="Rectangle 55"/>
            <p:cNvSpPr/>
            <p:nvPr userDrawn="1"/>
          </p:nvSpPr>
          <p:spPr bwMode="auto">
            <a:xfrm>
              <a:off x="-928688" y="350996"/>
              <a:ext cx="695325" cy="277811"/>
            </a:xfrm>
            <a:prstGeom prst="rect">
              <a:avLst/>
            </a:prstGeom>
            <a:solidFill>
              <a:srgbClr val="99CC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FFFFFF"/>
                  </a:solidFill>
                </a:rPr>
                <a:t>153.204.0</a:t>
              </a:r>
              <a:endParaRPr lang="es-ES_tradnl" sz="900" b="0" dirty="0">
                <a:solidFill>
                  <a:srgbClr val="FFFFFF"/>
                </a:solidFill>
              </a:endParaRPr>
            </a:p>
          </p:txBody>
        </p:sp>
        <p:sp>
          <p:nvSpPr>
            <p:cNvPr id="57" name="Rectangle 56"/>
            <p:cNvSpPr/>
            <p:nvPr userDrawn="1"/>
          </p:nvSpPr>
          <p:spPr bwMode="auto">
            <a:xfrm>
              <a:off x="-928688" y="703578"/>
              <a:ext cx="695325" cy="276225"/>
            </a:xfrm>
            <a:prstGeom prst="rect">
              <a:avLst/>
            </a:prstGeom>
            <a:solidFill>
              <a:srgbClr val="8080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FFFFFF"/>
                  </a:solidFill>
                </a:rPr>
                <a:t>128.128.128</a:t>
              </a:r>
              <a:endParaRPr lang="es-ES_tradnl" sz="900" b="0" dirty="0">
                <a:solidFill>
                  <a:srgbClr val="FFFFFF"/>
                </a:solidFill>
              </a:endParaRPr>
            </a:p>
          </p:txBody>
        </p:sp>
        <p:sp>
          <p:nvSpPr>
            <p:cNvPr id="58" name="Rectangle 57"/>
            <p:cNvSpPr/>
            <p:nvPr userDrawn="1"/>
          </p:nvSpPr>
          <p:spPr bwMode="auto">
            <a:xfrm>
              <a:off x="-928688" y="1054574"/>
              <a:ext cx="695325" cy="277812"/>
            </a:xfrm>
            <a:prstGeom prst="rect">
              <a:avLst/>
            </a:prstGeom>
            <a:solidFill>
              <a:srgbClr val="D0D0D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08. 208.208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59" name="Rectangle 58"/>
            <p:cNvSpPr/>
            <p:nvPr userDrawn="1"/>
          </p:nvSpPr>
          <p:spPr bwMode="auto">
            <a:xfrm>
              <a:off x="-928688" y="1407157"/>
              <a:ext cx="695325" cy="276225"/>
            </a:xfrm>
            <a:prstGeom prst="rect">
              <a:avLst/>
            </a:prstGeom>
            <a:solidFill>
              <a:srgbClr val="F58A1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45.138.31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60" name="Rectangle 59"/>
            <p:cNvSpPr/>
            <p:nvPr userDrawn="1"/>
          </p:nvSpPr>
          <p:spPr bwMode="auto">
            <a:xfrm>
              <a:off x="-928688" y="2109149"/>
              <a:ext cx="695325" cy="277811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192.0.0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61" name="Rectangle 60"/>
            <p:cNvSpPr/>
            <p:nvPr userDrawn="1"/>
          </p:nvSpPr>
          <p:spPr bwMode="auto">
            <a:xfrm>
              <a:off x="-928688" y="2812727"/>
              <a:ext cx="695325" cy="276225"/>
            </a:xfrm>
            <a:prstGeom prst="rect">
              <a:avLst/>
            </a:prstGeom>
            <a:solidFill>
              <a:srgbClr val="F2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42. 242. </a:t>
              </a:r>
              <a:r>
                <a:rPr lang="es-ES_tradnl" sz="900" b="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Rectangle 61"/>
            <p:cNvSpPr/>
            <p:nvPr userDrawn="1"/>
          </p:nvSpPr>
          <p:spPr bwMode="auto">
            <a:xfrm>
              <a:off x="-928688" y="1758153"/>
              <a:ext cx="695325" cy="276225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55.192.0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63" name="Rectangle 62"/>
            <p:cNvSpPr/>
            <p:nvPr userDrawn="1"/>
          </p:nvSpPr>
          <p:spPr bwMode="auto">
            <a:xfrm>
              <a:off x="-928688" y="3163723"/>
              <a:ext cx="695325" cy="277811"/>
            </a:xfrm>
            <a:prstGeom prst="rect">
              <a:avLst/>
            </a:prstGeom>
            <a:solidFill>
              <a:srgbClr val="E5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29.242.242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/>
            <p:cNvSpPr/>
            <p:nvPr userDrawn="1"/>
          </p:nvSpPr>
          <p:spPr bwMode="auto">
            <a:xfrm>
              <a:off x="-928688" y="2461731"/>
              <a:ext cx="695325" cy="276225"/>
            </a:xfrm>
            <a:prstGeom prst="rect">
              <a:avLst/>
            </a:prstGeom>
            <a:solidFill>
              <a:srgbClr val="B2D2D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178.210.216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8" name="Title Placeholder 67"/>
          <p:cNvSpPr>
            <a:spLocks noGrp="1"/>
          </p:cNvSpPr>
          <p:nvPr>
            <p:ph type="title"/>
          </p:nvPr>
        </p:nvSpPr>
        <p:spPr>
          <a:xfrm>
            <a:off x="495365" y="275225"/>
            <a:ext cx="8410139" cy="766144"/>
          </a:xfrm>
          <a:prstGeom prst="rect">
            <a:avLst/>
          </a:prstGeom>
          <a:noFill/>
        </p:spPr>
        <p:txBody>
          <a:bodyPr lIns="98660" tIns="49329" rIns="98660" bIns="49329"/>
          <a:lstStyle/>
          <a:p>
            <a:pPr marL="0" marR="0" lvl="0" indent="0" algn="l" defTabSz="107956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0" name="Text Placeholder 69"/>
          <p:cNvSpPr>
            <a:spLocks noGrp="1"/>
          </p:cNvSpPr>
          <p:nvPr>
            <p:ph type="body" idx="1"/>
          </p:nvPr>
        </p:nvSpPr>
        <p:spPr>
          <a:xfrm>
            <a:off x="481545" y="1388146"/>
            <a:ext cx="9001007" cy="4629150"/>
          </a:xfrm>
          <a:prstGeom prst="rect">
            <a:avLst/>
          </a:prstGeom>
        </p:spPr>
        <p:txBody>
          <a:bodyPr vert="horz" lIns="98660" tIns="49329" rIns="98660" bIns="49329" rtlCol="0">
            <a:normAutofit/>
          </a:bodyPr>
          <a:lstStyle/>
          <a:p>
            <a:pPr marL="369975" marR="0" lvl="0" indent="-369975" algn="l" defTabSz="107956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Образец текста</a:t>
            </a:r>
          </a:p>
          <a:p>
            <a:pPr marL="369975" marR="0" lvl="1" indent="-369975" algn="l" defTabSz="107956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Второй уровень</a:t>
            </a:r>
          </a:p>
          <a:p>
            <a:pPr marL="369975" marR="0" lvl="2" indent="-369975" algn="l" defTabSz="107956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Третий уровень</a:t>
            </a:r>
          </a:p>
          <a:p>
            <a:pPr marL="369975" marR="0" lvl="3" indent="-369975" algn="l" defTabSz="107956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Четвертый уровень</a:t>
            </a:r>
          </a:p>
          <a:p>
            <a:pPr marL="369975" marR="0" lvl="4" indent="-369975" algn="l" defTabSz="107956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Пятый уровень</a:t>
            </a:r>
            <a:endParaRPr lang="ru-RU" dirty="0"/>
          </a:p>
        </p:txBody>
      </p:sp>
      <p:pic>
        <p:nvPicPr>
          <p:cNvPr id="78" name="Picture 3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4653" y="390202"/>
            <a:ext cx="1508257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4"/>
          <p:cNvPicPr preferRelativeResize="0">
            <a:picLocks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651" y="196462"/>
            <a:ext cx="46435" cy="92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594" y="6368424"/>
            <a:ext cx="1371600" cy="401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74229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91" r:id="rId6"/>
    <p:sldLayoutId id="2147483678" r:id="rId7"/>
  </p:sldLayoutIdLst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ctr" defTabSz="1079560" rtl="0" eaLnBrk="1" fontAlgn="base" hangingPunct="1">
        <a:spcBef>
          <a:spcPct val="0"/>
        </a:spcBef>
        <a:spcAft>
          <a:spcPct val="0"/>
        </a:spcAft>
        <a:defRPr kumimoji="0" lang="ru-RU" sz="2100" b="1" i="0" u="none" strike="noStrike" kern="0" cap="none" spc="0" normalizeH="0" baseline="0" noProof="0" smtClean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  <a:lvl2pPr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2pPr>
      <a:lvl3pPr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3pPr>
      <a:lvl4pPr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4pPr>
      <a:lvl5pPr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5pPr>
      <a:lvl6pPr marL="492733"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6pPr>
      <a:lvl7pPr marL="985461"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7pPr>
      <a:lvl8pPr marL="1478194"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8pPr>
      <a:lvl9pPr marL="1970927"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9pPr>
    </p:titleStyle>
    <p:bodyStyle>
      <a:lvl1pPr marL="405476" indent="-405476" algn="l" defTabSz="1079560" rtl="0" eaLnBrk="1" fontAlgn="base" hangingPunct="1">
        <a:spcBef>
          <a:spcPct val="20000"/>
        </a:spcBef>
        <a:spcAft>
          <a:spcPct val="0"/>
        </a:spcAft>
        <a:buChar char="•"/>
        <a:defRPr kumimoji="0" lang="en-US" altLang="en-US" sz="19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877678" indent="-338753" algn="l" defTabSz="1079560" rtl="0" eaLnBrk="1" fontAlgn="base" hangingPunct="1">
        <a:spcBef>
          <a:spcPct val="20000"/>
        </a:spcBef>
        <a:spcAft>
          <a:spcPct val="0"/>
        </a:spcAft>
        <a:buChar char="–"/>
        <a:defRPr kumimoji="0" lang="en-US" altLang="en-US" sz="17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1349880" indent="-270316" algn="l" defTabSz="1079560" rtl="0" eaLnBrk="1" fontAlgn="base" hangingPunct="1">
        <a:spcBef>
          <a:spcPct val="20000"/>
        </a:spcBef>
        <a:spcAft>
          <a:spcPct val="0"/>
        </a:spcAft>
        <a:buChar char="•"/>
        <a:defRPr kumimoji="0" lang="en-US" altLang="en-US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1888802" indent="-270316" algn="l" defTabSz="1079560" rtl="0" eaLnBrk="1" fontAlgn="base" hangingPunct="1">
        <a:spcBef>
          <a:spcPct val="20000"/>
        </a:spcBef>
        <a:spcAft>
          <a:spcPct val="0"/>
        </a:spcAft>
        <a:buChar char="–"/>
        <a:defRPr kumimoji="0" lang="en-US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2427732" indent="-268607" algn="l" defTabSz="1079560" rtl="0" eaLnBrk="1" fontAlgn="base" hangingPunct="1">
        <a:spcBef>
          <a:spcPct val="20000"/>
        </a:spcBef>
        <a:spcAft>
          <a:spcPct val="0"/>
        </a:spcAft>
        <a:buChar char="»"/>
        <a:defRPr kumimoji="0" lang="ru-RU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920459" indent="-268607" algn="l" defTabSz="1079560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6pPr>
      <a:lvl7pPr marL="3413192" indent="-268607" algn="l" defTabSz="1079560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7pPr>
      <a:lvl8pPr marL="3905914" indent="-268607" algn="l" defTabSz="1079560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8pPr>
      <a:lvl9pPr marL="4398651" indent="-268607" algn="l" defTabSz="1079560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2733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5461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8194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70927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63656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56386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49116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41848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1828637"/>
              </p:ext>
            </p:extLst>
          </p:nvPr>
        </p:nvGraphicFramePr>
        <p:xfrm>
          <a:off x="1782" y="1654"/>
          <a:ext cx="171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77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782" y="1654"/>
                        <a:ext cx="171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3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60" r="24255" b="3615"/>
          <a:stretch>
            <a:fillRect/>
          </a:stretch>
        </p:blipFill>
        <p:spPr bwMode="auto">
          <a:xfrm>
            <a:off x="8397804" y="295377"/>
            <a:ext cx="1508257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95361" y="185739"/>
            <a:ext cx="7702947" cy="627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6" tIns="45714" rIns="91426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397004"/>
            <a:ext cx="8915400" cy="47339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6" tIns="45714" rIns="91426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текста</a:t>
            </a:r>
          </a:p>
          <a:p>
            <a:pPr lvl="1"/>
            <a:r>
              <a:rPr lang="ru-RU" altLang="en-US" smtClean="0"/>
              <a:t>Второй уровень</a:t>
            </a:r>
          </a:p>
          <a:p>
            <a:pPr lvl="2"/>
            <a:r>
              <a:rPr lang="ru-RU" altLang="en-US" smtClean="0"/>
              <a:t>Третий уровень</a:t>
            </a:r>
          </a:p>
          <a:p>
            <a:pPr lvl="3"/>
            <a:r>
              <a:rPr lang="ru-RU" altLang="en-US" smtClean="0"/>
              <a:t>Четвертый уровень</a:t>
            </a:r>
          </a:p>
          <a:p>
            <a:pPr lvl="4"/>
            <a:r>
              <a:rPr lang="ru-RU" altLang="en-US" smtClean="0"/>
              <a:t>Пятый уровень</a:t>
            </a:r>
          </a:p>
        </p:txBody>
      </p:sp>
      <p:pic>
        <p:nvPicPr>
          <p:cNvPr id="1032" name="Picture 4"/>
          <p:cNvPicPr preferRelativeResize="0">
            <a:picLocks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624" y="189013"/>
            <a:ext cx="46435" cy="92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1" name="Line 15"/>
          <p:cNvSpPr>
            <a:spLocks noChangeShapeType="1"/>
          </p:cNvSpPr>
          <p:nvPr/>
        </p:nvSpPr>
        <p:spPr bwMode="auto">
          <a:xfrm>
            <a:off x="9013022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46" tIns="43675" rIns="87346" bIns="43675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12" name="Picture 2" descr="C:\Documents and Settings\BelovaDV\Мои документы\Мои рисунки\лого_SIBUR_new_EN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69" y="6491436"/>
            <a:ext cx="102375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7950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5pPr>
      <a:lvl6pPr marL="45713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4262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139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852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342848" indent="-34284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692045" indent="-347611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987274" indent="-29364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3pPr>
      <a:lvl4pPr marL="1280918" indent="-29205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4pPr>
      <a:lvl5pPr marL="1598369" indent="-315864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5pPr>
      <a:lvl6pPr marL="2055499" indent="-315864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512629" indent="-315864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2969760" indent="-315864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426889" indent="-315864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0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2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0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0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2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1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11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42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565588565"/>
              </p:ext>
            </p:extLst>
          </p:nvPr>
        </p:nvGraphicFramePr>
        <p:xfrm>
          <a:off x="1656" y="1595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01" name="think-cell Slide" r:id="rId29" imgW="572" imgH="572" progId="TCLayout.ActiveDocument.1">
                  <p:embed/>
                </p:oleObj>
              </mc:Choice>
              <mc:Fallback>
                <p:oleObj name="think-cell Slide" r:id="rId29" imgW="572" imgH="5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656" y="1595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580" y="6493913"/>
            <a:ext cx="946800" cy="2772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56511" y="6400931"/>
            <a:ext cx="807156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589" tIns="47794" rIns="95589" bIns="47794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pPr defTabSz="913562" fontAlgn="base">
              <a:spcAft>
                <a:spcPct val="0"/>
              </a:spcAft>
              <a:defRPr/>
            </a:pPr>
            <a:fld id="{62904C63-2B24-46AF-B25E-66CB8A4EF8F1}" type="slidenum">
              <a:rPr lang="ru-RU"/>
              <a:pPr defTabSz="913562" fontAlgn="base">
                <a:spcAft>
                  <a:spcPct val="0"/>
                </a:spcAft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sp>
        <p:nvSpPr>
          <p:cNvPr id="1039" name="Line 15"/>
          <p:cNvSpPr>
            <a:spLocks noChangeShapeType="1"/>
          </p:cNvSpPr>
          <p:nvPr/>
        </p:nvSpPr>
        <p:spPr bwMode="auto">
          <a:xfrm>
            <a:off x="9276644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280" tIns="43641" rIns="87280" bIns="43641" anchor="ctr"/>
          <a:lstStyle/>
          <a:p>
            <a:pPr defTabSz="913562"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grpSp>
        <p:nvGrpSpPr>
          <p:cNvPr id="77" name="Group 76"/>
          <p:cNvGrpSpPr/>
          <p:nvPr/>
        </p:nvGrpSpPr>
        <p:grpSpPr>
          <a:xfrm>
            <a:off x="-894292" y="43"/>
            <a:ext cx="669572" cy="3260401"/>
            <a:chOff x="-928688" y="0"/>
            <a:chExt cx="695325" cy="3441534"/>
          </a:xfrm>
        </p:grpSpPr>
        <p:sp>
          <p:nvSpPr>
            <p:cNvPr id="55" name="Rectangle 54"/>
            <p:cNvSpPr/>
            <p:nvPr userDrawn="1"/>
          </p:nvSpPr>
          <p:spPr bwMode="auto">
            <a:xfrm>
              <a:off x="-928688" y="0"/>
              <a:ext cx="695325" cy="276225"/>
            </a:xfrm>
            <a:prstGeom prst="rect">
              <a:avLst/>
            </a:prstGeom>
            <a:solidFill>
              <a:srgbClr val="0080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3562">
                <a:defRPr/>
              </a:pPr>
              <a:r>
                <a:rPr lang="es-ES_tradnl" sz="800" b="0" smtClean="0">
                  <a:solidFill>
                    <a:srgbClr val="FFFFFF"/>
                  </a:solidFill>
                </a:rPr>
                <a:t>0.128.128</a:t>
              </a:r>
              <a:endParaRPr lang="es-ES_tradnl" sz="800" b="0" dirty="0">
                <a:solidFill>
                  <a:srgbClr val="FFFFFF"/>
                </a:solidFill>
              </a:endParaRPr>
            </a:p>
          </p:txBody>
        </p:sp>
        <p:sp>
          <p:nvSpPr>
            <p:cNvPr id="56" name="Rectangle 55"/>
            <p:cNvSpPr/>
            <p:nvPr userDrawn="1"/>
          </p:nvSpPr>
          <p:spPr bwMode="auto">
            <a:xfrm>
              <a:off x="-928688" y="350996"/>
              <a:ext cx="695325" cy="277811"/>
            </a:xfrm>
            <a:prstGeom prst="rect">
              <a:avLst/>
            </a:prstGeom>
            <a:solidFill>
              <a:srgbClr val="99CC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3562">
                <a:defRPr/>
              </a:pPr>
              <a:r>
                <a:rPr lang="es-ES_tradnl" sz="800" b="0" smtClean="0">
                  <a:solidFill>
                    <a:srgbClr val="FFFFFF"/>
                  </a:solidFill>
                </a:rPr>
                <a:t>153.204.0</a:t>
              </a:r>
              <a:endParaRPr lang="es-ES_tradnl" sz="800" b="0" dirty="0">
                <a:solidFill>
                  <a:srgbClr val="FFFFFF"/>
                </a:solidFill>
              </a:endParaRPr>
            </a:p>
          </p:txBody>
        </p:sp>
        <p:sp>
          <p:nvSpPr>
            <p:cNvPr id="57" name="Rectangle 56"/>
            <p:cNvSpPr/>
            <p:nvPr userDrawn="1"/>
          </p:nvSpPr>
          <p:spPr bwMode="auto">
            <a:xfrm>
              <a:off x="-928688" y="703578"/>
              <a:ext cx="695325" cy="276225"/>
            </a:xfrm>
            <a:prstGeom prst="rect">
              <a:avLst/>
            </a:prstGeom>
            <a:solidFill>
              <a:srgbClr val="8080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3562">
                <a:defRPr/>
              </a:pPr>
              <a:r>
                <a:rPr lang="es-ES_tradnl" sz="800" b="0" smtClean="0">
                  <a:solidFill>
                    <a:srgbClr val="FFFFFF"/>
                  </a:solidFill>
                </a:rPr>
                <a:t>128.128.128</a:t>
              </a:r>
              <a:endParaRPr lang="es-ES_tradnl" sz="800" b="0" dirty="0">
                <a:solidFill>
                  <a:srgbClr val="FFFFFF"/>
                </a:solidFill>
              </a:endParaRPr>
            </a:p>
          </p:txBody>
        </p:sp>
        <p:sp>
          <p:nvSpPr>
            <p:cNvPr id="58" name="Rectangle 57"/>
            <p:cNvSpPr/>
            <p:nvPr userDrawn="1"/>
          </p:nvSpPr>
          <p:spPr bwMode="auto">
            <a:xfrm>
              <a:off x="-928688" y="1054574"/>
              <a:ext cx="695325" cy="277812"/>
            </a:xfrm>
            <a:prstGeom prst="rect">
              <a:avLst/>
            </a:prstGeom>
            <a:solidFill>
              <a:srgbClr val="D0D0D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3562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208. 208.208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  <p:sp>
          <p:nvSpPr>
            <p:cNvPr id="59" name="Rectangle 58"/>
            <p:cNvSpPr/>
            <p:nvPr userDrawn="1"/>
          </p:nvSpPr>
          <p:spPr bwMode="auto">
            <a:xfrm>
              <a:off x="-928688" y="1407157"/>
              <a:ext cx="695325" cy="276225"/>
            </a:xfrm>
            <a:prstGeom prst="rect">
              <a:avLst/>
            </a:prstGeom>
            <a:solidFill>
              <a:srgbClr val="F58A1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3562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245.138.31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  <p:sp>
          <p:nvSpPr>
            <p:cNvPr id="60" name="Rectangle 59"/>
            <p:cNvSpPr/>
            <p:nvPr userDrawn="1"/>
          </p:nvSpPr>
          <p:spPr bwMode="auto">
            <a:xfrm>
              <a:off x="-928688" y="2109149"/>
              <a:ext cx="695325" cy="277811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3562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192.0.0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  <p:sp>
          <p:nvSpPr>
            <p:cNvPr id="61" name="Rectangle 60"/>
            <p:cNvSpPr/>
            <p:nvPr userDrawn="1"/>
          </p:nvSpPr>
          <p:spPr bwMode="auto">
            <a:xfrm>
              <a:off x="-928688" y="2812727"/>
              <a:ext cx="695325" cy="276225"/>
            </a:xfrm>
            <a:prstGeom prst="rect">
              <a:avLst/>
            </a:prstGeom>
            <a:solidFill>
              <a:srgbClr val="F2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3562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242. 242. </a:t>
              </a:r>
              <a:r>
                <a:rPr lang="es-ES_tradnl" sz="800" b="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Rectangle 61"/>
            <p:cNvSpPr/>
            <p:nvPr userDrawn="1"/>
          </p:nvSpPr>
          <p:spPr bwMode="auto">
            <a:xfrm>
              <a:off x="-928688" y="1758153"/>
              <a:ext cx="695325" cy="276225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3562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255.192.0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  <p:sp>
          <p:nvSpPr>
            <p:cNvPr id="63" name="Rectangle 62"/>
            <p:cNvSpPr/>
            <p:nvPr userDrawn="1"/>
          </p:nvSpPr>
          <p:spPr bwMode="auto">
            <a:xfrm>
              <a:off x="-928688" y="3163723"/>
              <a:ext cx="695325" cy="277811"/>
            </a:xfrm>
            <a:prstGeom prst="rect">
              <a:avLst/>
            </a:prstGeom>
            <a:solidFill>
              <a:srgbClr val="E5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3562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229.242.242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/>
            <p:cNvSpPr/>
            <p:nvPr userDrawn="1"/>
          </p:nvSpPr>
          <p:spPr bwMode="auto">
            <a:xfrm>
              <a:off x="-928688" y="2461731"/>
              <a:ext cx="695325" cy="276225"/>
            </a:xfrm>
            <a:prstGeom prst="rect">
              <a:avLst/>
            </a:prstGeom>
            <a:solidFill>
              <a:srgbClr val="B2D2D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3562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178.210.216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8" name="Title Placeholder 67"/>
          <p:cNvSpPr>
            <a:spLocks noGrp="1"/>
          </p:cNvSpPr>
          <p:nvPr>
            <p:ph type="title"/>
          </p:nvPr>
        </p:nvSpPr>
        <p:spPr>
          <a:xfrm>
            <a:off x="495348" y="275224"/>
            <a:ext cx="8410139" cy="766144"/>
          </a:xfrm>
          <a:prstGeom prst="rect">
            <a:avLst/>
          </a:prstGeom>
          <a:noFill/>
        </p:spPr>
        <p:txBody>
          <a:bodyPr lIns="87382" tIns="43691" rIns="87382" bIns="43691"/>
          <a:lstStyle/>
          <a:p>
            <a:pPr marL="0" marR="0" lvl="0" indent="0" algn="l" defTabSz="95615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70" name="Text Placeholder 69"/>
          <p:cNvSpPr>
            <a:spLocks noGrp="1"/>
          </p:cNvSpPr>
          <p:nvPr>
            <p:ph type="body" idx="1"/>
          </p:nvPr>
        </p:nvSpPr>
        <p:spPr>
          <a:xfrm>
            <a:off x="481545" y="1388146"/>
            <a:ext cx="9001007" cy="4629150"/>
          </a:xfrm>
          <a:prstGeom prst="rect">
            <a:avLst/>
          </a:prstGeom>
        </p:spPr>
        <p:txBody>
          <a:bodyPr vert="horz" lIns="87382" tIns="43691" rIns="87382" bIns="43691" rtlCol="0">
            <a:normAutofit/>
          </a:bodyPr>
          <a:lstStyle/>
          <a:p>
            <a:pPr marL="327683" marR="0" lvl="0" indent="-327683" algn="l" defTabSz="956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dirty="0" smtClean="0"/>
              <a:t>Click to edit Master text styles</a:t>
            </a:r>
          </a:p>
          <a:p>
            <a:pPr marL="661435" marR="0" lvl="1" indent="-332232" algn="l" defTabSz="956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6BF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dirty="0" smtClean="0"/>
              <a:t>Second level</a:t>
            </a:r>
          </a:p>
          <a:p>
            <a:pPr marL="943608" marR="0" lvl="2" indent="-280656" algn="l" defTabSz="95615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65A5C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dirty="0" smtClean="0"/>
              <a:t>Third level</a:t>
            </a:r>
          </a:p>
          <a:p>
            <a:pPr marL="1239431" marR="0" lvl="3" indent="-236660" algn="l" defTabSz="95615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Char char="–"/>
              <a:tabLst/>
              <a:defRPr/>
            </a:pPr>
            <a:r>
              <a:rPr lang="en-US" dirty="0" smtClean="0"/>
              <a:t>Fourth level</a:t>
            </a:r>
          </a:p>
          <a:p>
            <a:pPr marL="1470024" marR="0" lvl="4" indent="-236660" algn="l" defTabSz="95615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Char char="»"/>
              <a:tabLst>
                <a:tab pos="1541327" algn="l"/>
              </a:tabLst>
              <a:defRPr/>
            </a:pPr>
            <a:r>
              <a:rPr lang="en-US" dirty="0" smtClean="0"/>
              <a:t>Fifth level</a:t>
            </a:r>
            <a:endParaRPr lang="ru-RU" dirty="0"/>
          </a:p>
        </p:txBody>
      </p:sp>
      <p:pic>
        <p:nvPicPr>
          <p:cNvPr id="78" name="Picture 3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60" r="24255" b="3615"/>
          <a:stretch>
            <a:fillRect/>
          </a:stretch>
        </p:blipFill>
        <p:spPr bwMode="auto">
          <a:xfrm>
            <a:off x="8124618" y="124305"/>
            <a:ext cx="1508257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4"/>
          <p:cNvPicPr preferRelativeResize="0">
            <a:picLocks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580" y="128464"/>
            <a:ext cx="50769" cy="1044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2620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  <p:sldLayoutId id="2147483869" r:id="rId15"/>
    <p:sldLayoutId id="2147483870" r:id="rId16"/>
    <p:sldLayoutId id="2147483871" r:id="rId17"/>
    <p:sldLayoutId id="2147483872" r:id="rId18"/>
    <p:sldLayoutId id="2147483873" r:id="rId19"/>
    <p:sldLayoutId id="2147483874" r:id="rId20"/>
    <p:sldLayoutId id="2147483875" r:id="rId21"/>
    <p:sldLayoutId id="2147483876" r:id="rId22"/>
    <p:sldLayoutId id="2147483877" r:id="rId23"/>
    <p:sldLayoutId id="2147483878" r:id="rId24"/>
    <p:sldLayoutId id="2147483879" r:id="rId25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56155" rtl="0" eaLnBrk="0" fontAlgn="base" hangingPunct="0">
        <a:spcBef>
          <a:spcPct val="0"/>
        </a:spcBef>
        <a:spcAft>
          <a:spcPct val="0"/>
        </a:spcAft>
        <a:defRPr kumimoji="0" lang="ru-RU" sz="1900" b="1" i="0" u="none" strike="noStrike" kern="0" cap="none" spc="0" normalizeH="0" baseline="0" noProof="0" smtClean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  <a:lvl2pPr algn="ctr" defTabSz="956155" rtl="0" eaLnBrk="0" fontAlgn="base" hangingPunct="0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2pPr>
      <a:lvl3pPr algn="ctr" defTabSz="956155" rtl="0" eaLnBrk="0" fontAlgn="base" hangingPunct="0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3pPr>
      <a:lvl4pPr algn="ctr" defTabSz="956155" rtl="0" eaLnBrk="0" fontAlgn="base" hangingPunct="0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4pPr>
      <a:lvl5pPr algn="ctr" defTabSz="956155" rtl="0" eaLnBrk="0" fontAlgn="base" hangingPunct="0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5pPr>
      <a:lvl6pPr marL="436409" algn="ctr" defTabSz="956155" rtl="0" fontAlgn="base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6pPr>
      <a:lvl7pPr marL="872815" algn="ctr" defTabSz="956155" rtl="0" fontAlgn="base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7pPr>
      <a:lvl8pPr marL="1309222" algn="ctr" defTabSz="956155" rtl="0" fontAlgn="base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8pPr>
      <a:lvl9pPr marL="1745635" algn="ctr" defTabSz="956155" rtl="0" fontAlgn="base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9pPr>
    </p:titleStyle>
    <p:bodyStyle>
      <a:lvl1pPr marL="359129" indent="-359129" algn="l" defTabSz="956155" rtl="0" eaLnBrk="0" fontAlgn="base" hangingPunct="0">
        <a:spcBef>
          <a:spcPct val="20000"/>
        </a:spcBef>
        <a:spcAft>
          <a:spcPct val="0"/>
        </a:spcAft>
        <a:buChar char="•"/>
        <a:defRPr kumimoji="0" lang="en-US" altLang="en-US" sz="17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777349" indent="-300032" algn="l" defTabSz="956155" rtl="0" eaLnBrk="0" fontAlgn="base" hangingPunct="0">
        <a:spcBef>
          <a:spcPct val="20000"/>
        </a:spcBef>
        <a:spcAft>
          <a:spcPct val="0"/>
        </a:spcAft>
        <a:buChar char="–"/>
        <a:defRPr kumimoji="0" lang="en-US" altLang="en-US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1195576" indent="-239419" algn="l" defTabSz="956155" rtl="0" eaLnBrk="0" fontAlgn="base" hangingPunct="0">
        <a:spcBef>
          <a:spcPct val="20000"/>
        </a:spcBef>
        <a:spcAft>
          <a:spcPct val="0"/>
        </a:spcAft>
        <a:buChar char="•"/>
        <a:defRPr kumimoji="0" lang="en-US" altLang="en-US" sz="14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1672898" indent="-239419" algn="l" defTabSz="956155" rtl="0" eaLnBrk="0" fontAlgn="base" hangingPunct="0">
        <a:spcBef>
          <a:spcPct val="20000"/>
        </a:spcBef>
        <a:spcAft>
          <a:spcPct val="0"/>
        </a:spcAft>
        <a:buChar char="–"/>
        <a:defRPr kumimoji="0" lang="en-US" sz="14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2150221" indent="-237905" algn="l" defTabSz="956155" rtl="0" eaLnBrk="0" fontAlgn="base" hangingPunct="0">
        <a:spcBef>
          <a:spcPct val="20000"/>
        </a:spcBef>
        <a:spcAft>
          <a:spcPct val="0"/>
        </a:spcAft>
        <a:buChar char="»"/>
        <a:defRPr kumimoji="0" lang="ru-RU" sz="14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86625" indent="-237905" algn="l" defTabSz="956155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023036" indent="-237905" algn="l" defTabSz="956155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459436" indent="-237905" algn="l" defTabSz="956155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3895846" indent="-237905" algn="l" defTabSz="956155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7281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6409" algn="l" defTabSz="87281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72815" algn="l" defTabSz="87281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09222" algn="l" defTabSz="87281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45635" algn="l" defTabSz="87281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82038" algn="l" defTabSz="87281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18446" algn="l" defTabSz="87281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54850" algn="l" defTabSz="87281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91260" algn="l" defTabSz="872815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07161999"/>
              </p:ext>
            </p:extLst>
          </p:nvPr>
        </p:nvGraphicFramePr>
        <p:xfrm>
          <a:off x="1601" y="161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3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61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735" y="6400837"/>
            <a:ext cx="807156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07944" tIns="53971" rIns="107944" bIns="5397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500" b="1" i="1">
                <a:solidFill>
                  <a:srgbClr val="008080"/>
                </a:solidFill>
              </a:defRPr>
            </a:lvl1pPr>
          </a:lstStyle>
          <a:p>
            <a:pPr defTabSz="1031626" fontAlgn="base">
              <a:spcAft>
                <a:spcPct val="0"/>
              </a:spcAft>
              <a:defRPr/>
            </a:pPr>
            <a:fld id="{62904C63-2B24-46AF-B25E-66CB8A4EF8F1}" type="slidenum">
              <a:rPr lang="ru-RU"/>
              <a:pPr defTabSz="1031626" fontAlgn="base">
                <a:spcAft>
                  <a:spcPct val="0"/>
                </a:spcAft>
                <a:defRPr/>
              </a:pPr>
              <a:t>‹#›</a:t>
            </a:fld>
            <a:r>
              <a:rPr lang="ru-RU" sz="1200" dirty="0">
                <a:solidFill>
                  <a:srgbClr val="808080"/>
                </a:solidFill>
              </a:rPr>
              <a:t> </a:t>
            </a:r>
          </a:p>
        </p:txBody>
      </p:sp>
      <p:sp>
        <p:nvSpPr>
          <p:cNvPr id="1039" name="Line 15"/>
          <p:cNvSpPr>
            <a:spLocks noChangeShapeType="1"/>
          </p:cNvSpPr>
          <p:nvPr/>
        </p:nvSpPr>
        <p:spPr bwMode="auto">
          <a:xfrm>
            <a:off x="9098844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98560" tIns="49282" rIns="98560" bIns="49282" anchor="ctr"/>
          <a:lstStyle/>
          <a:p>
            <a:pPr defTabSz="1031626"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2000">
              <a:solidFill>
                <a:srgbClr val="000000"/>
              </a:solidFill>
            </a:endParaRPr>
          </a:p>
        </p:txBody>
      </p:sp>
      <p:grpSp>
        <p:nvGrpSpPr>
          <p:cNvPr id="77" name="Group 76"/>
          <p:cNvGrpSpPr/>
          <p:nvPr/>
        </p:nvGrpSpPr>
        <p:grpSpPr>
          <a:xfrm>
            <a:off x="-894292" y="32"/>
            <a:ext cx="669572" cy="3260401"/>
            <a:chOff x="-928688" y="0"/>
            <a:chExt cx="695325" cy="3441534"/>
          </a:xfrm>
        </p:grpSpPr>
        <p:sp>
          <p:nvSpPr>
            <p:cNvPr id="55" name="Rectangle 54"/>
            <p:cNvSpPr/>
            <p:nvPr userDrawn="1"/>
          </p:nvSpPr>
          <p:spPr bwMode="auto">
            <a:xfrm>
              <a:off x="-928688" y="0"/>
              <a:ext cx="695325" cy="276225"/>
            </a:xfrm>
            <a:prstGeom prst="rect">
              <a:avLst/>
            </a:prstGeom>
            <a:solidFill>
              <a:srgbClr val="0080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626">
                <a:defRPr/>
              </a:pPr>
              <a:r>
                <a:rPr lang="es-ES_tradnl" sz="900" b="0" smtClean="0">
                  <a:solidFill>
                    <a:srgbClr val="FFFFFF"/>
                  </a:solidFill>
                </a:rPr>
                <a:t>0.128.128</a:t>
              </a:r>
              <a:endParaRPr lang="es-ES_tradnl" sz="900" b="0" dirty="0">
                <a:solidFill>
                  <a:srgbClr val="FFFFFF"/>
                </a:solidFill>
              </a:endParaRPr>
            </a:p>
          </p:txBody>
        </p:sp>
        <p:sp>
          <p:nvSpPr>
            <p:cNvPr id="56" name="Rectangle 55"/>
            <p:cNvSpPr/>
            <p:nvPr userDrawn="1"/>
          </p:nvSpPr>
          <p:spPr bwMode="auto">
            <a:xfrm>
              <a:off x="-928688" y="350996"/>
              <a:ext cx="695325" cy="277811"/>
            </a:xfrm>
            <a:prstGeom prst="rect">
              <a:avLst/>
            </a:prstGeom>
            <a:solidFill>
              <a:srgbClr val="99CC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626">
                <a:defRPr/>
              </a:pPr>
              <a:r>
                <a:rPr lang="es-ES_tradnl" sz="900" b="0" smtClean="0">
                  <a:solidFill>
                    <a:srgbClr val="FFFFFF"/>
                  </a:solidFill>
                </a:rPr>
                <a:t>153.204.0</a:t>
              </a:r>
              <a:endParaRPr lang="es-ES_tradnl" sz="900" b="0" dirty="0">
                <a:solidFill>
                  <a:srgbClr val="FFFFFF"/>
                </a:solidFill>
              </a:endParaRPr>
            </a:p>
          </p:txBody>
        </p:sp>
        <p:sp>
          <p:nvSpPr>
            <p:cNvPr id="57" name="Rectangle 56"/>
            <p:cNvSpPr/>
            <p:nvPr userDrawn="1"/>
          </p:nvSpPr>
          <p:spPr bwMode="auto">
            <a:xfrm>
              <a:off x="-928688" y="703578"/>
              <a:ext cx="695325" cy="276225"/>
            </a:xfrm>
            <a:prstGeom prst="rect">
              <a:avLst/>
            </a:prstGeom>
            <a:solidFill>
              <a:srgbClr val="8080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626">
                <a:defRPr/>
              </a:pPr>
              <a:r>
                <a:rPr lang="es-ES_tradnl" sz="900" b="0" smtClean="0">
                  <a:solidFill>
                    <a:srgbClr val="FFFFFF"/>
                  </a:solidFill>
                </a:rPr>
                <a:t>128.128.128</a:t>
              </a:r>
              <a:endParaRPr lang="es-ES_tradnl" sz="900" b="0" dirty="0">
                <a:solidFill>
                  <a:srgbClr val="FFFFFF"/>
                </a:solidFill>
              </a:endParaRPr>
            </a:p>
          </p:txBody>
        </p:sp>
        <p:sp>
          <p:nvSpPr>
            <p:cNvPr id="58" name="Rectangle 57"/>
            <p:cNvSpPr/>
            <p:nvPr userDrawn="1"/>
          </p:nvSpPr>
          <p:spPr bwMode="auto">
            <a:xfrm>
              <a:off x="-928688" y="1054574"/>
              <a:ext cx="695325" cy="277812"/>
            </a:xfrm>
            <a:prstGeom prst="rect">
              <a:avLst/>
            </a:prstGeom>
            <a:solidFill>
              <a:srgbClr val="D0D0D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626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08. 208.208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59" name="Rectangle 58"/>
            <p:cNvSpPr/>
            <p:nvPr userDrawn="1"/>
          </p:nvSpPr>
          <p:spPr bwMode="auto">
            <a:xfrm>
              <a:off x="-928688" y="1407157"/>
              <a:ext cx="695325" cy="276225"/>
            </a:xfrm>
            <a:prstGeom prst="rect">
              <a:avLst/>
            </a:prstGeom>
            <a:solidFill>
              <a:srgbClr val="F58A1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626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45.138.31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60" name="Rectangle 59"/>
            <p:cNvSpPr/>
            <p:nvPr userDrawn="1"/>
          </p:nvSpPr>
          <p:spPr bwMode="auto">
            <a:xfrm>
              <a:off x="-928688" y="2109149"/>
              <a:ext cx="695325" cy="277811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626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192.0.0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61" name="Rectangle 60"/>
            <p:cNvSpPr/>
            <p:nvPr userDrawn="1"/>
          </p:nvSpPr>
          <p:spPr bwMode="auto">
            <a:xfrm>
              <a:off x="-928688" y="2812727"/>
              <a:ext cx="695325" cy="276225"/>
            </a:xfrm>
            <a:prstGeom prst="rect">
              <a:avLst/>
            </a:prstGeom>
            <a:solidFill>
              <a:srgbClr val="F2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626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42. 242. </a:t>
              </a:r>
              <a:r>
                <a:rPr lang="es-ES_tradnl" sz="900" b="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Rectangle 61"/>
            <p:cNvSpPr/>
            <p:nvPr userDrawn="1"/>
          </p:nvSpPr>
          <p:spPr bwMode="auto">
            <a:xfrm>
              <a:off x="-928688" y="1758153"/>
              <a:ext cx="695325" cy="276225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626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55.192.0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63" name="Rectangle 62"/>
            <p:cNvSpPr/>
            <p:nvPr userDrawn="1"/>
          </p:nvSpPr>
          <p:spPr bwMode="auto">
            <a:xfrm>
              <a:off x="-928688" y="3163723"/>
              <a:ext cx="695325" cy="277811"/>
            </a:xfrm>
            <a:prstGeom prst="rect">
              <a:avLst/>
            </a:prstGeom>
            <a:solidFill>
              <a:srgbClr val="E5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626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29.242.242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/>
            <p:cNvSpPr/>
            <p:nvPr userDrawn="1"/>
          </p:nvSpPr>
          <p:spPr bwMode="auto">
            <a:xfrm>
              <a:off x="-928688" y="2461731"/>
              <a:ext cx="695325" cy="276225"/>
            </a:xfrm>
            <a:prstGeom prst="rect">
              <a:avLst/>
            </a:prstGeom>
            <a:solidFill>
              <a:srgbClr val="B2D2D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626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178.210.216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8" name="Title Placeholder 67"/>
          <p:cNvSpPr>
            <a:spLocks noGrp="1"/>
          </p:cNvSpPr>
          <p:nvPr>
            <p:ph type="title"/>
          </p:nvPr>
        </p:nvSpPr>
        <p:spPr>
          <a:xfrm>
            <a:off x="495322" y="275225"/>
            <a:ext cx="8410139" cy="766144"/>
          </a:xfrm>
          <a:prstGeom prst="rect">
            <a:avLst/>
          </a:prstGeom>
          <a:noFill/>
        </p:spPr>
        <p:txBody>
          <a:bodyPr lIns="98675" tIns="49337" rIns="98675" bIns="49337"/>
          <a:lstStyle/>
          <a:p>
            <a:pPr marL="0" marR="0" lvl="0" indent="0" algn="l" defTabSz="10797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0" name="Text Placeholder 69"/>
          <p:cNvSpPr>
            <a:spLocks noGrp="1"/>
          </p:cNvSpPr>
          <p:nvPr>
            <p:ph type="body" idx="1"/>
          </p:nvPr>
        </p:nvSpPr>
        <p:spPr>
          <a:xfrm>
            <a:off x="481545" y="1388146"/>
            <a:ext cx="9001007" cy="4629150"/>
          </a:xfrm>
          <a:prstGeom prst="rect">
            <a:avLst/>
          </a:prstGeom>
        </p:spPr>
        <p:txBody>
          <a:bodyPr vert="horz" lIns="98675" tIns="49337" rIns="98675" bIns="49337" rtlCol="0">
            <a:normAutofit/>
          </a:bodyPr>
          <a:lstStyle/>
          <a:p>
            <a:pPr marL="370032" marR="0" lvl="0" indent="-370032" algn="l" defTabSz="107972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Образец текста</a:t>
            </a:r>
          </a:p>
          <a:p>
            <a:pPr marL="370032" marR="0" lvl="1" indent="-370032" algn="l" defTabSz="107972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Второй уровень</a:t>
            </a:r>
          </a:p>
          <a:p>
            <a:pPr marL="370032" marR="0" lvl="2" indent="-370032" algn="l" defTabSz="107972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Третий уровень</a:t>
            </a:r>
          </a:p>
          <a:p>
            <a:pPr marL="370032" marR="0" lvl="3" indent="-370032" algn="l" defTabSz="107972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Четвертый уровень</a:t>
            </a:r>
          </a:p>
          <a:p>
            <a:pPr marL="370032" marR="0" lvl="4" indent="-370032" algn="l" defTabSz="107972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Пятый уровень</a:t>
            </a:r>
            <a:endParaRPr lang="ru-RU" dirty="0"/>
          </a:p>
        </p:txBody>
      </p:sp>
      <p:pic>
        <p:nvPicPr>
          <p:cNvPr id="78" name="Picture 3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4610" y="390123"/>
            <a:ext cx="1508257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4"/>
          <p:cNvPicPr preferRelativeResize="0">
            <a:picLocks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607" y="196386"/>
            <a:ext cx="46435" cy="92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594" y="6368424"/>
            <a:ext cx="1371600" cy="401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34152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5" r:id="rId4"/>
  </p:sldLayoutIdLst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ctr" defTabSz="1079725" rtl="0" eaLnBrk="1" fontAlgn="base" hangingPunct="1">
        <a:spcBef>
          <a:spcPct val="0"/>
        </a:spcBef>
        <a:spcAft>
          <a:spcPct val="0"/>
        </a:spcAft>
        <a:defRPr kumimoji="0" lang="ru-RU" sz="2100" b="1" i="0" u="none" strike="noStrike" kern="0" cap="none" spc="0" normalizeH="0" baseline="0" noProof="0" smtClean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  <a:lvl2pPr algn="ctr" defTabSz="1079725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2pPr>
      <a:lvl3pPr algn="ctr" defTabSz="1079725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3pPr>
      <a:lvl4pPr algn="ctr" defTabSz="1079725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4pPr>
      <a:lvl5pPr algn="ctr" defTabSz="1079725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5pPr>
      <a:lvl6pPr marL="492808" algn="ctr" defTabSz="1079725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6pPr>
      <a:lvl7pPr marL="985611" algn="ctr" defTabSz="1079725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7pPr>
      <a:lvl8pPr marL="1478419" algn="ctr" defTabSz="1079725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8pPr>
      <a:lvl9pPr marL="1971228" algn="ctr" defTabSz="1079725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9pPr>
    </p:titleStyle>
    <p:bodyStyle>
      <a:lvl1pPr marL="405538" indent="-405538" algn="l" defTabSz="1079725" rtl="0" eaLnBrk="1" fontAlgn="base" hangingPunct="1">
        <a:spcBef>
          <a:spcPct val="20000"/>
        </a:spcBef>
        <a:spcAft>
          <a:spcPct val="0"/>
        </a:spcAft>
        <a:buChar char="•"/>
        <a:defRPr kumimoji="0" lang="en-US" altLang="en-US" sz="19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877811" indent="-338805" algn="l" defTabSz="1079725" rtl="0" eaLnBrk="1" fontAlgn="base" hangingPunct="1">
        <a:spcBef>
          <a:spcPct val="20000"/>
        </a:spcBef>
        <a:spcAft>
          <a:spcPct val="0"/>
        </a:spcAft>
        <a:buChar char="–"/>
        <a:defRPr kumimoji="0" lang="en-US" altLang="en-US" sz="17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1350086" indent="-270357" algn="l" defTabSz="1079725" rtl="0" eaLnBrk="1" fontAlgn="base" hangingPunct="1">
        <a:spcBef>
          <a:spcPct val="20000"/>
        </a:spcBef>
        <a:spcAft>
          <a:spcPct val="0"/>
        </a:spcAft>
        <a:buChar char="•"/>
        <a:defRPr kumimoji="0" lang="en-US" altLang="en-US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1889091" indent="-270357" algn="l" defTabSz="1079725" rtl="0" eaLnBrk="1" fontAlgn="base" hangingPunct="1">
        <a:spcBef>
          <a:spcPct val="20000"/>
        </a:spcBef>
        <a:spcAft>
          <a:spcPct val="0"/>
        </a:spcAft>
        <a:buChar char="–"/>
        <a:defRPr kumimoji="0" lang="en-US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2428102" indent="-268648" algn="l" defTabSz="1079725" rtl="0" eaLnBrk="1" fontAlgn="base" hangingPunct="1">
        <a:spcBef>
          <a:spcPct val="20000"/>
        </a:spcBef>
        <a:spcAft>
          <a:spcPct val="0"/>
        </a:spcAft>
        <a:buChar char="»"/>
        <a:defRPr kumimoji="0" lang="ru-RU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920905" indent="-268648" algn="l" defTabSz="1079725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6pPr>
      <a:lvl7pPr marL="3413713" indent="-268648" algn="l" defTabSz="1079725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7pPr>
      <a:lvl8pPr marL="3906510" indent="-268648" algn="l" defTabSz="1079725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8pPr>
      <a:lvl9pPr marL="4399323" indent="-268648" algn="l" defTabSz="1079725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856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2808" algn="l" defTabSz="9856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5611" algn="l" defTabSz="9856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8419" algn="l" defTabSz="9856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71228" algn="l" defTabSz="9856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64033" algn="l" defTabSz="9856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56837" algn="l" defTabSz="9856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49642" algn="l" defTabSz="9856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42450" algn="l" defTabSz="9856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24303544"/>
              </p:ext>
            </p:extLst>
          </p:nvPr>
        </p:nvGraphicFramePr>
        <p:xfrm>
          <a:off x="1724" y="1595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24" y="1595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735" y="6400820"/>
            <a:ext cx="807156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78" tIns="47838" rIns="95678" bIns="47838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300" b="1" i="1">
                <a:solidFill>
                  <a:srgbClr val="008080"/>
                </a:solidFill>
              </a:defRPr>
            </a:lvl1pPr>
          </a:lstStyle>
          <a:p>
            <a:pPr defTabSz="914400" fontAlgn="base">
              <a:spcAft>
                <a:spcPct val="0"/>
              </a:spcAft>
              <a:defRPr/>
            </a:pPr>
            <a:fld id="{62904C63-2B24-46AF-B25E-66CB8A4EF8F1}" type="slidenum">
              <a:rPr lang="ru-RU"/>
              <a:pPr defTabSz="914400" fontAlgn="base">
                <a:spcAft>
                  <a:spcPct val="0"/>
                </a:spcAft>
                <a:defRPr/>
              </a:pPr>
              <a:t>‹#›</a:t>
            </a:fld>
            <a:r>
              <a:rPr lang="ru-RU" sz="1100" dirty="0">
                <a:solidFill>
                  <a:srgbClr val="808080"/>
                </a:solidFill>
              </a:rPr>
              <a:t> </a:t>
            </a:r>
          </a:p>
        </p:txBody>
      </p:sp>
      <p:sp>
        <p:nvSpPr>
          <p:cNvPr id="1039" name="Line 15"/>
          <p:cNvSpPr>
            <a:spLocks noChangeShapeType="1"/>
          </p:cNvSpPr>
          <p:nvPr/>
        </p:nvSpPr>
        <p:spPr bwMode="auto">
          <a:xfrm>
            <a:off x="9098844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60" tIns="43682" rIns="87360" bIns="43682" anchor="ctr"/>
          <a:lstStyle/>
          <a:p>
            <a:pPr defTabSz="914400"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grpSp>
        <p:nvGrpSpPr>
          <p:cNvPr id="77" name="Group 76"/>
          <p:cNvGrpSpPr/>
          <p:nvPr/>
        </p:nvGrpSpPr>
        <p:grpSpPr>
          <a:xfrm>
            <a:off x="-894292" y="15"/>
            <a:ext cx="669572" cy="3260401"/>
            <a:chOff x="-928688" y="0"/>
            <a:chExt cx="695325" cy="3441534"/>
          </a:xfrm>
        </p:grpSpPr>
        <p:sp>
          <p:nvSpPr>
            <p:cNvPr id="55" name="Rectangle 54"/>
            <p:cNvSpPr/>
            <p:nvPr userDrawn="1"/>
          </p:nvSpPr>
          <p:spPr bwMode="auto">
            <a:xfrm>
              <a:off x="-928688" y="0"/>
              <a:ext cx="695325" cy="276225"/>
            </a:xfrm>
            <a:prstGeom prst="rect">
              <a:avLst/>
            </a:prstGeom>
            <a:solidFill>
              <a:srgbClr val="0080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4400">
                <a:defRPr/>
              </a:pPr>
              <a:r>
                <a:rPr lang="es-ES_tradnl" sz="800" b="0" smtClean="0">
                  <a:solidFill>
                    <a:srgbClr val="FFFFFF"/>
                  </a:solidFill>
                </a:rPr>
                <a:t>0.128.128</a:t>
              </a:r>
              <a:endParaRPr lang="es-ES_tradnl" sz="800" b="0" dirty="0">
                <a:solidFill>
                  <a:srgbClr val="FFFFFF"/>
                </a:solidFill>
              </a:endParaRPr>
            </a:p>
          </p:txBody>
        </p:sp>
        <p:sp>
          <p:nvSpPr>
            <p:cNvPr id="56" name="Rectangle 55"/>
            <p:cNvSpPr/>
            <p:nvPr userDrawn="1"/>
          </p:nvSpPr>
          <p:spPr bwMode="auto">
            <a:xfrm>
              <a:off x="-928688" y="350996"/>
              <a:ext cx="695325" cy="277811"/>
            </a:xfrm>
            <a:prstGeom prst="rect">
              <a:avLst/>
            </a:prstGeom>
            <a:solidFill>
              <a:srgbClr val="99CC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4400">
                <a:defRPr/>
              </a:pPr>
              <a:r>
                <a:rPr lang="es-ES_tradnl" sz="800" b="0" smtClean="0">
                  <a:solidFill>
                    <a:srgbClr val="FFFFFF"/>
                  </a:solidFill>
                </a:rPr>
                <a:t>153.204.0</a:t>
              </a:r>
              <a:endParaRPr lang="es-ES_tradnl" sz="800" b="0" dirty="0">
                <a:solidFill>
                  <a:srgbClr val="FFFFFF"/>
                </a:solidFill>
              </a:endParaRPr>
            </a:p>
          </p:txBody>
        </p:sp>
        <p:sp>
          <p:nvSpPr>
            <p:cNvPr id="57" name="Rectangle 56"/>
            <p:cNvSpPr/>
            <p:nvPr userDrawn="1"/>
          </p:nvSpPr>
          <p:spPr bwMode="auto">
            <a:xfrm>
              <a:off x="-928688" y="703578"/>
              <a:ext cx="695325" cy="276225"/>
            </a:xfrm>
            <a:prstGeom prst="rect">
              <a:avLst/>
            </a:prstGeom>
            <a:solidFill>
              <a:srgbClr val="8080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4400">
                <a:defRPr/>
              </a:pPr>
              <a:r>
                <a:rPr lang="es-ES_tradnl" sz="800" b="0" smtClean="0">
                  <a:solidFill>
                    <a:srgbClr val="FFFFFF"/>
                  </a:solidFill>
                </a:rPr>
                <a:t>128.128.128</a:t>
              </a:r>
              <a:endParaRPr lang="es-ES_tradnl" sz="800" b="0" dirty="0">
                <a:solidFill>
                  <a:srgbClr val="FFFFFF"/>
                </a:solidFill>
              </a:endParaRPr>
            </a:p>
          </p:txBody>
        </p:sp>
        <p:sp>
          <p:nvSpPr>
            <p:cNvPr id="58" name="Rectangle 57"/>
            <p:cNvSpPr/>
            <p:nvPr userDrawn="1"/>
          </p:nvSpPr>
          <p:spPr bwMode="auto">
            <a:xfrm>
              <a:off x="-928688" y="1054574"/>
              <a:ext cx="695325" cy="277812"/>
            </a:xfrm>
            <a:prstGeom prst="rect">
              <a:avLst/>
            </a:prstGeom>
            <a:solidFill>
              <a:srgbClr val="D0D0D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4400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208. 208.208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  <p:sp>
          <p:nvSpPr>
            <p:cNvPr id="59" name="Rectangle 58"/>
            <p:cNvSpPr/>
            <p:nvPr userDrawn="1"/>
          </p:nvSpPr>
          <p:spPr bwMode="auto">
            <a:xfrm>
              <a:off x="-928688" y="1407157"/>
              <a:ext cx="695325" cy="276225"/>
            </a:xfrm>
            <a:prstGeom prst="rect">
              <a:avLst/>
            </a:prstGeom>
            <a:solidFill>
              <a:srgbClr val="F58A1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4400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245.138.31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  <p:sp>
          <p:nvSpPr>
            <p:cNvPr id="60" name="Rectangle 59"/>
            <p:cNvSpPr/>
            <p:nvPr userDrawn="1"/>
          </p:nvSpPr>
          <p:spPr bwMode="auto">
            <a:xfrm>
              <a:off x="-928688" y="2109149"/>
              <a:ext cx="695325" cy="277811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4400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192.0.0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  <p:sp>
          <p:nvSpPr>
            <p:cNvPr id="61" name="Rectangle 60"/>
            <p:cNvSpPr/>
            <p:nvPr userDrawn="1"/>
          </p:nvSpPr>
          <p:spPr bwMode="auto">
            <a:xfrm>
              <a:off x="-928688" y="2812727"/>
              <a:ext cx="695325" cy="276225"/>
            </a:xfrm>
            <a:prstGeom prst="rect">
              <a:avLst/>
            </a:prstGeom>
            <a:solidFill>
              <a:srgbClr val="F2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4400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242. 242. </a:t>
              </a:r>
              <a:r>
                <a:rPr lang="es-ES_tradnl" sz="800" b="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Rectangle 61"/>
            <p:cNvSpPr/>
            <p:nvPr userDrawn="1"/>
          </p:nvSpPr>
          <p:spPr bwMode="auto">
            <a:xfrm>
              <a:off x="-928688" y="1758153"/>
              <a:ext cx="695325" cy="276225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4400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255.192.0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  <p:sp>
          <p:nvSpPr>
            <p:cNvPr id="63" name="Rectangle 62"/>
            <p:cNvSpPr/>
            <p:nvPr userDrawn="1"/>
          </p:nvSpPr>
          <p:spPr bwMode="auto">
            <a:xfrm>
              <a:off x="-928688" y="3163723"/>
              <a:ext cx="695325" cy="277811"/>
            </a:xfrm>
            <a:prstGeom prst="rect">
              <a:avLst/>
            </a:prstGeom>
            <a:solidFill>
              <a:srgbClr val="E5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4400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229.242.242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/>
            <p:cNvSpPr/>
            <p:nvPr userDrawn="1"/>
          </p:nvSpPr>
          <p:spPr bwMode="auto">
            <a:xfrm>
              <a:off x="-928688" y="2461731"/>
              <a:ext cx="695325" cy="276225"/>
            </a:xfrm>
            <a:prstGeom prst="rect">
              <a:avLst/>
            </a:prstGeom>
            <a:solidFill>
              <a:srgbClr val="B2D2D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4400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178.210.216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8" name="Title Placeholder 67"/>
          <p:cNvSpPr>
            <a:spLocks noGrp="1"/>
          </p:cNvSpPr>
          <p:nvPr>
            <p:ph type="title"/>
          </p:nvPr>
        </p:nvSpPr>
        <p:spPr>
          <a:xfrm>
            <a:off x="495313" y="275225"/>
            <a:ext cx="8410139" cy="766144"/>
          </a:xfrm>
          <a:prstGeom prst="rect">
            <a:avLst/>
          </a:prstGeom>
          <a:noFill/>
        </p:spPr>
        <p:txBody>
          <a:bodyPr lIns="87462" tIns="43731" rIns="87462" bIns="43731"/>
          <a:lstStyle/>
          <a:p>
            <a:pPr marL="0" marR="0" lvl="0" indent="0" algn="l" defTabSz="95703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0" name="Text Placeholder 69"/>
          <p:cNvSpPr>
            <a:spLocks noGrp="1"/>
          </p:cNvSpPr>
          <p:nvPr>
            <p:ph type="body" idx="1"/>
          </p:nvPr>
        </p:nvSpPr>
        <p:spPr>
          <a:xfrm>
            <a:off x="481545" y="1388146"/>
            <a:ext cx="9001007" cy="4629150"/>
          </a:xfrm>
          <a:prstGeom prst="rect">
            <a:avLst/>
          </a:prstGeom>
        </p:spPr>
        <p:txBody>
          <a:bodyPr vert="horz" lIns="87462" tIns="43731" rIns="87462" bIns="43731" rtlCol="0">
            <a:normAutofit/>
          </a:bodyPr>
          <a:lstStyle/>
          <a:p>
            <a:pPr marL="327984" marR="0" lvl="0" indent="-327984" algn="l" defTabSz="95703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Образец текста</a:t>
            </a:r>
          </a:p>
          <a:p>
            <a:pPr marL="327984" marR="0" lvl="1" indent="-327984" algn="l" defTabSz="95703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Второй уровень</a:t>
            </a:r>
          </a:p>
          <a:p>
            <a:pPr marL="327984" marR="0" lvl="2" indent="-327984" algn="l" defTabSz="95703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Третий уровень</a:t>
            </a:r>
          </a:p>
          <a:p>
            <a:pPr marL="327984" marR="0" lvl="3" indent="-327984" algn="l" defTabSz="95703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Четвертый уровень</a:t>
            </a:r>
          </a:p>
          <a:p>
            <a:pPr marL="327984" marR="0" lvl="4" indent="-327984" algn="l" defTabSz="95703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Пятый уровень</a:t>
            </a:r>
            <a:endParaRPr lang="ru-RU" dirty="0"/>
          </a:p>
        </p:txBody>
      </p:sp>
      <p:pic>
        <p:nvPicPr>
          <p:cNvPr id="78" name="Picture 3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4602" y="390106"/>
            <a:ext cx="1508257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4"/>
          <p:cNvPicPr preferRelativeResize="0">
            <a:picLocks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598" y="196369"/>
            <a:ext cx="46435" cy="92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580" y="6368424"/>
            <a:ext cx="1371600" cy="401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49724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</p:sldLayoutIdLst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ctr" defTabSz="957033" rtl="0" eaLnBrk="1" fontAlgn="base" hangingPunct="1">
        <a:spcBef>
          <a:spcPct val="0"/>
        </a:spcBef>
        <a:spcAft>
          <a:spcPct val="0"/>
        </a:spcAft>
        <a:defRPr kumimoji="0" lang="ru-RU" sz="1900" b="1" i="0" u="none" strike="noStrike" kern="0" cap="none" spc="0" normalizeH="0" baseline="0" noProof="0" smtClean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  <a:lvl2pPr algn="ctr" defTabSz="957033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2pPr>
      <a:lvl3pPr algn="ctr" defTabSz="957033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3pPr>
      <a:lvl4pPr algn="ctr" defTabSz="957033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4pPr>
      <a:lvl5pPr algn="ctr" defTabSz="957033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5pPr>
      <a:lvl6pPr marL="436809" algn="ctr" defTabSz="957033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6pPr>
      <a:lvl7pPr marL="873614" algn="ctr" defTabSz="957033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7pPr>
      <a:lvl8pPr marL="1310423" algn="ctr" defTabSz="957033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8pPr>
      <a:lvl9pPr marL="1747233" algn="ctr" defTabSz="957033" rtl="0" eaLnBrk="1" fontAlgn="base" hangingPunct="1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9pPr>
    </p:titleStyle>
    <p:bodyStyle>
      <a:lvl1pPr marL="359456" indent="-359456" algn="l" defTabSz="957033" rtl="0" eaLnBrk="1" fontAlgn="base" hangingPunct="1">
        <a:spcBef>
          <a:spcPct val="20000"/>
        </a:spcBef>
        <a:spcAft>
          <a:spcPct val="0"/>
        </a:spcAft>
        <a:buChar char="•"/>
        <a:defRPr kumimoji="0" lang="en-US" altLang="en-US" sz="17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778063" indent="-300306" algn="l" defTabSz="957033" rtl="0" eaLnBrk="1" fontAlgn="base" hangingPunct="1">
        <a:spcBef>
          <a:spcPct val="20000"/>
        </a:spcBef>
        <a:spcAft>
          <a:spcPct val="0"/>
        </a:spcAft>
        <a:buChar char="–"/>
        <a:defRPr kumimoji="0" lang="en-US" altLang="en-US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1196673" indent="-239636" algn="l" defTabSz="957033" rtl="0" eaLnBrk="1" fontAlgn="base" hangingPunct="1">
        <a:spcBef>
          <a:spcPct val="20000"/>
        </a:spcBef>
        <a:spcAft>
          <a:spcPct val="0"/>
        </a:spcAft>
        <a:buChar char="•"/>
        <a:defRPr kumimoji="0" lang="en-US" altLang="en-US" sz="13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1674429" indent="-239636" algn="l" defTabSz="957033" rtl="0" eaLnBrk="1" fontAlgn="base" hangingPunct="1">
        <a:spcBef>
          <a:spcPct val="20000"/>
        </a:spcBef>
        <a:spcAft>
          <a:spcPct val="0"/>
        </a:spcAft>
        <a:buChar char="–"/>
        <a:defRPr kumimoji="0" lang="en-US" sz="13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2152191" indent="-238121" algn="l" defTabSz="957033" rtl="0" eaLnBrk="1" fontAlgn="base" hangingPunct="1">
        <a:spcBef>
          <a:spcPct val="20000"/>
        </a:spcBef>
        <a:spcAft>
          <a:spcPct val="0"/>
        </a:spcAft>
        <a:buChar char="»"/>
        <a:defRPr kumimoji="0" lang="ru-RU" sz="13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88996" indent="-238121" algn="l" defTabSz="957033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025805" indent="-238121" algn="l" defTabSz="957033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462604" indent="-238121" algn="l" defTabSz="957033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3899418" indent="-238121" algn="l" defTabSz="957033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736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6809" algn="l" defTabSz="8736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73614" algn="l" defTabSz="8736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10423" algn="l" defTabSz="8736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47233" algn="l" defTabSz="8736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84039" algn="l" defTabSz="8736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20845" algn="l" defTabSz="8736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57651" algn="l" defTabSz="8736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94460" algn="l" defTabSz="8736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67342377"/>
              </p:ext>
            </p:extLst>
          </p:nvPr>
        </p:nvGraphicFramePr>
        <p:xfrm>
          <a:off x="1781" y="1654"/>
          <a:ext cx="171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781" y="1654"/>
                        <a:ext cx="171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60" r="24255" b="3615"/>
          <a:stretch>
            <a:fillRect/>
          </a:stretch>
        </p:blipFill>
        <p:spPr bwMode="auto">
          <a:xfrm>
            <a:off x="8397803" y="295374"/>
            <a:ext cx="1508257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95360" y="185739"/>
            <a:ext cx="7702947" cy="627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6" tIns="45714" rIns="91426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397004"/>
            <a:ext cx="8915400" cy="47339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6" tIns="45714" rIns="91426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текста</a:t>
            </a:r>
          </a:p>
          <a:p>
            <a:pPr lvl="1"/>
            <a:r>
              <a:rPr lang="ru-RU" altLang="en-US" smtClean="0"/>
              <a:t>Второй уровень</a:t>
            </a:r>
          </a:p>
          <a:p>
            <a:pPr lvl="2"/>
            <a:r>
              <a:rPr lang="ru-RU" altLang="en-US" smtClean="0"/>
              <a:t>Третий уровень</a:t>
            </a:r>
          </a:p>
          <a:p>
            <a:pPr lvl="3"/>
            <a:r>
              <a:rPr lang="ru-RU" altLang="en-US" smtClean="0"/>
              <a:t>Четвертый уровень</a:t>
            </a:r>
          </a:p>
          <a:p>
            <a:pPr lvl="4"/>
            <a:r>
              <a:rPr lang="ru-RU" altLang="en-US" smtClean="0"/>
              <a:t>Пятый уровень</a:t>
            </a:r>
          </a:p>
        </p:txBody>
      </p:sp>
      <p:pic>
        <p:nvPicPr>
          <p:cNvPr id="1032" name="Picture 4"/>
          <p:cNvPicPr preferRelativeResize="0">
            <a:picLocks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623" y="189010"/>
            <a:ext cx="46435" cy="92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09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1" name="Line 15"/>
          <p:cNvSpPr>
            <a:spLocks noChangeShapeType="1"/>
          </p:cNvSpPr>
          <p:nvPr/>
        </p:nvSpPr>
        <p:spPr bwMode="auto">
          <a:xfrm>
            <a:off x="9013022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46" tIns="43675" rIns="87346" bIns="43675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12" name="Picture 2" descr="C:\Documents and Settings\BelovaDV\Мои документы\Мои рисунки\лого_SIBUR_new_EN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69" y="6491436"/>
            <a:ext cx="102375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9646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5pPr>
      <a:lvl6pPr marL="45713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4262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139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852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342848" indent="-34284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692045" indent="-347611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987274" indent="-29364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3pPr>
      <a:lvl4pPr marL="1280918" indent="-29205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4pPr>
      <a:lvl5pPr marL="1598369" indent="-315864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5pPr>
      <a:lvl6pPr marL="2055499" indent="-315864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512629" indent="-315864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2969760" indent="-315864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426889" indent="-315864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0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2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0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0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2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1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11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42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69814437"/>
              </p:ext>
            </p:extLst>
          </p:nvPr>
        </p:nvGraphicFramePr>
        <p:xfrm>
          <a:off x="1782" y="1654"/>
          <a:ext cx="171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782" y="1654"/>
                        <a:ext cx="171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60" r="24255" b="3615"/>
          <a:stretch>
            <a:fillRect/>
          </a:stretch>
        </p:blipFill>
        <p:spPr bwMode="auto">
          <a:xfrm>
            <a:off x="8397804" y="295377"/>
            <a:ext cx="1508257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95361" y="185739"/>
            <a:ext cx="7702947" cy="627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6" tIns="45714" rIns="91426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397004"/>
            <a:ext cx="8915400" cy="47339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6" tIns="45714" rIns="91426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текста</a:t>
            </a:r>
          </a:p>
          <a:p>
            <a:pPr lvl="1"/>
            <a:r>
              <a:rPr lang="ru-RU" altLang="en-US" smtClean="0"/>
              <a:t>Второй уровень</a:t>
            </a:r>
          </a:p>
          <a:p>
            <a:pPr lvl="2"/>
            <a:r>
              <a:rPr lang="ru-RU" altLang="en-US" smtClean="0"/>
              <a:t>Третий уровень</a:t>
            </a:r>
          </a:p>
          <a:p>
            <a:pPr lvl="3"/>
            <a:r>
              <a:rPr lang="ru-RU" altLang="en-US" smtClean="0"/>
              <a:t>Четвертый уровень</a:t>
            </a:r>
          </a:p>
          <a:p>
            <a:pPr lvl="4"/>
            <a:r>
              <a:rPr lang="ru-RU" altLang="en-US" smtClean="0"/>
              <a:t>Пятый уровень</a:t>
            </a:r>
          </a:p>
        </p:txBody>
      </p:sp>
      <p:pic>
        <p:nvPicPr>
          <p:cNvPr id="1032" name="Picture 4"/>
          <p:cNvPicPr preferRelativeResize="0">
            <a:picLocks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624" y="189013"/>
            <a:ext cx="46435" cy="92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1" name="Line 15"/>
          <p:cNvSpPr>
            <a:spLocks noChangeShapeType="1"/>
          </p:cNvSpPr>
          <p:nvPr/>
        </p:nvSpPr>
        <p:spPr bwMode="auto">
          <a:xfrm>
            <a:off x="9013022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46" tIns="43675" rIns="87346" bIns="43675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12" name="Picture 2" descr="C:\Documents and Settings\BelovaDV\Мои документы\Мои рисунки\лого_SIBUR_new_EN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69" y="6491436"/>
            <a:ext cx="102375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2650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2" r:id="rId5"/>
    <p:sldLayoutId id="2147483673" r:id="rId6"/>
    <p:sldLayoutId id="2147483674" r:id="rId7"/>
    <p:sldLayoutId id="2147483675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5pPr>
      <a:lvl6pPr marL="45713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4262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139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852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342848" indent="-34284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692045" indent="-347611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987274" indent="-29364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3pPr>
      <a:lvl4pPr marL="1280918" indent="-29205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4pPr>
      <a:lvl5pPr marL="1598369" indent="-315864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5pPr>
      <a:lvl6pPr marL="2055499" indent="-315864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512629" indent="-315864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2969760" indent="-315864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426889" indent="-315864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0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2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0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0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2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1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11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42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86701888"/>
              </p:ext>
            </p:extLst>
          </p:nvPr>
        </p:nvGraphicFramePr>
        <p:xfrm>
          <a:off x="1644" y="1650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5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4" y="1650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735" y="6400915"/>
            <a:ext cx="807156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07928" tIns="53962" rIns="107928" bIns="53962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500" b="1" i="1">
                <a:solidFill>
                  <a:srgbClr val="008080"/>
                </a:solidFill>
              </a:defRPr>
            </a:lvl1pPr>
          </a:lstStyle>
          <a:p>
            <a:pPr defTabSz="1031468" fontAlgn="base">
              <a:spcAft>
                <a:spcPct val="0"/>
              </a:spcAft>
              <a:defRPr/>
            </a:pPr>
            <a:fld id="{62904C63-2B24-46AF-B25E-66CB8A4EF8F1}" type="slidenum">
              <a:rPr lang="ru-RU" smtClean="0"/>
              <a:pPr defTabSz="1031468" fontAlgn="base">
                <a:spcAft>
                  <a:spcPct val="0"/>
                </a:spcAft>
                <a:defRPr/>
              </a:pPr>
              <a:t>‹#›</a:t>
            </a:fld>
            <a:r>
              <a:rPr lang="ru-RU" sz="1200" smtClean="0">
                <a:solidFill>
                  <a:srgbClr val="808080"/>
                </a:solidFill>
              </a:rPr>
              <a:t> </a:t>
            </a:r>
            <a:endParaRPr lang="ru-RU" sz="1200" dirty="0">
              <a:solidFill>
                <a:srgbClr val="808080"/>
              </a:solidFill>
            </a:endParaRPr>
          </a:p>
        </p:txBody>
      </p:sp>
      <p:sp>
        <p:nvSpPr>
          <p:cNvPr id="1039" name="Line 15"/>
          <p:cNvSpPr>
            <a:spLocks noChangeShapeType="1"/>
          </p:cNvSpPr>
          <p:nvPr/>
        </p:nvSpPr>
        <p:spPr bwMode="auto">
          <a:xfrm>
            <a:off x="9098844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98546" tIns="49275" rIns="98546" bIns="49275" anchor="ctr"/>
          <a:lstStyle/>
          <a:p>
            <a:pPr defTabSz="1031468"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2000">
              <a:solidFill>
                <a:srgbClr val="000000"/>
              </a:solidFill>
            </a:endParaRPr>
          </a:p>
        </p:txBody>
      </p:sp>
      <p:grpSp>
        <p:nvGrpSpPr>
          <p:cNvPr id="77" name="Group 76"/>
          <p:cNvGrpSpPr/>
          <p:nvPr/>
        </p:nvGrpSpPr>
        <p:grpSpPr>
          <a:xfrm>
            <a:off x="-894292" y="111"/>
            <a:ext cx="669572" cy="3260401"/>
            <a:chOff x="-928688" y="0"/>
            <a:chExt cx="695325" cy="3441534"/>
          </a:xfrm>
        </p:grpSpPr>
        <p:sp>
          <p:nvSpPr>
            <p:cNvPr id="55" name="Rectangle 54"/>
            <p:cNvSpPr/>
            <p:nvPr userDrawn="1"/>
          </p:nvSpPr>
          <p:spPr bwMode="auto">
            <a:xfrm>
              <a:off x="-928688" y="0"/>
              <a:ext cx="695325" cy="276225"/>
            </a:xfrm>
            <a:prstGeom prst="rect">
              <a:avLst/>
            </a:prstGeom>
            <a:solidFill>
              <a:srgbClr val="0080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FFFFFF"/>
                  </a:solidFill>
                </a:rPr>
                <a:t>0.128.128</a:t>
              </a:r>
              <a:endParaRPr lang="es-ES_tradnl" sz="900" b="0" dirty="0">
                <a:solidFill>
                  <a:srgbClr val="FFFFFF"/>
                </a:solidFill>
              </a:endParaRPr>
            </a:p>
          </p:txBody>
        </p:sp>
        <p:sp>
          <p:nvSpPr>
            <p:cNvPr id="56" name="Rectangle 55"/>
            <p:cNvSpPr/>
            <p:nvPr userDrawn="1"/>
          </p:nvSpPr>
          <p:spPr bwMode="auto">
            <a:xfrm>
              <a:off x="-928688" y="350996"/>
              <a:ext cx="695325" cy="277811"/>
            </a:xfrm>
            <a:prstGeom prst="rect">
              <a:avLst/>
            </a:prstGeom>
            <a:solidFill>
              <a:srgbClr val="99CC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FFFFFF"/>
                  </a:solidFill>
                </a:rPr>
                <a:t>153.204.0</a:t>
              </a:r>
              <a:endParaRPr lang="es-ES_tradnl" sz="900" b="0" dirty="0">
                <a:solidFill>
                  <a:srgbClr val="FFFFFF"/>
                </a:solidFill>
              </a:endParaRPr>
            </a:p>
          </p:txBody>
        </p:sp>
        <p:sp>
          <p:nvSpPr>
            <p:cNvPr id="57" name="Rectangle 56"/>
            <p:cNvSpPr/>
            <p:nvPr userDrawn="1"/>
          </p:nvSpPr>
          <p:spPr bwMode="auto">
            <a:xfrm>
              <a:off x="-928688" y="703578"/>
              <a:ext cx="695325" cy="276225"/>
            </a:xfrm>
            <a:prstGeom prst="rect">
              <a:avLst/>
            </a:prstGeom>
            <a:solidFill>
              <a:srgbClr val="8080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FFFFFF"/>
                  </a:solidFill>
                </a:rPr>
                <a:t>128.128.128</a:t>
              </a:r>
              <a:endParaRPr lang="es-ES_tradnl" sz="900" b="0" dirty="0">
                <a:solidFill>
                  <a:srgbClr val="FFFFFF"/>
                </a:solidFill>
              </a:endParaRPr>
            </a:p>
          </p:txBody>
        </p:sp>
        <p:sp>
          <p:nvSpPr>
            <p:cNvPr id="58" name="Rectangle 57"/>
            <p:cNvSpPr/>
            <p:nvPr userDrawn="1"/>
          </p:nvSpPr>
          <p:spPr bwMode="auto">
            <a:xfrm>
              <a:off x="-928688" y="1054574"/>
              <a:ext cx="695325" cy="277812"/>
            </a:xfrm>
            <a:prstGeom prst="rect">
              <a:avLst/>
            </a:prstGeom>
            <a:solidFill>
              <a:srgbClr val="D0D0D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08. 208.208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59" name="Rectangle 58"/>
            <p:cNvSpPr/>
            <p:nvPr userDrawn="1"/>
          </p:nvSpPr>
          <p:spPr bwMode="auto">
            <a:xfrm>
              <a:off x="-928688" y="1407157"/>
              <a:ext cx="695325" cy="276225"/>
            </a:xfrm>
            <a:prstGeom prst="rect">
              <a:avLst/>
            </a:prstGeom>
            <a:solidFill>
              <a:srgbClr val="F58A1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45.138.31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60" name="Rectangle 59"/>
            <p:cNvSpPr/>
            <p:nvPr userDrawn="1"/>
          </p:nvSpPr>
          <p:spPr bwMode="auto">
            <a:xfrm>
              <a:off x="-928688" y="2109149"/>
              <a:ext cx="695325" cy="277811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192.0.0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61" name="Rectangle 60"/>
            <p:cNvSpPr/>
            <p:nvPr userDrawn="1"/>
          </p:nvSpPr>
          <p:spPr bwMode="auto">
            <a:xfrm>
              <a:off x="-928688" y="2812727"/>
              <a:ext cx="695325" cy="276225"/>
            </a:xfrm>
            <a:prstGeom prst="rect">
              <a:avLst/>
            </a:prstGeom>
            <a:solidFill>
              <a:srgbClr val="F2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42. 242. </a:t>
              </a:r>
              <a:r>
                <a:rPr lang="es-ES_tradnl" sz="900" b="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Rectangle 61"/>
            <p:cNvSpPr/>
            <p:nvPr userDrawn="1"/>
          </p:nvSpPr>
          <p:spPr bwMode="auto">
            <a:xfrm>
              <a:off x="-928688" y="1758153"/>
              <a:ext cx="695325" cy="276225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55.192.0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63" name="Rectangle 62"/>
            <p:cNvSpPr/>
            <p:nvPr userDrawn="1"/>
          </p:nvSpPr>
          <p:spPr bwMode="auto">
            <a:xfrm>
              <a:off x="-928688" y="3163723"/>
              <a:ext cx="695325" cy="277811"/>
            </a:xfrm>
            <a:prstGeom prst="rect">
              <a:avLst/>
            </a:prstGeom>
            <a:solidFill>
              <a:srgbClr val="E5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29.242.242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/>
            <p:cNvSpPr/>
            <p:nvPr userDrawn="1"/>
          </p:nvSpPr>
          <p:spPr bwMode="auto">
            <a:xfrm>
              <a:off x="-928688" y="2461731"/>
              <a:ext cx="695325" cy="276225"/>
            </a:xfrm>
            <a:prstGeom prst="rect">
              <a:avLst/>
            </a:prstGeom>
            <a:solidFill>
              <a:srgbClr val="B2D2D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178.210.216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8" name="Title Placeholder 67"/>
          <p:cNvSpPr>
            <a:spLocks noGrp="1"/>
          </p:cNvSpPr>
          <p:nvPr>
            <p:ph type="title"/>
          </p:nvPr>
        </p:nvSpPr>
        <p:spPr>
          <a:xfrm>
            <a:off x="495365" y="275225"/>
            <a:ext cx="8410139" cy="766144"/>
          </a:xfrm>
          <a:prstGeom prst="rect">
            <a:avLst/>
          </a:prstGeom>
          <a:noFill/>
        </p:spPr>
        <p:txBody>
          <a:bodyPr lIns="98660" tIns="49329" rIns="98660" bIns="49329"/>
          <a:lstStyle/>
          <a:p>
            <a:pPr marL="0" marR="0" lvl="0" indent="0" algn="l" defTabSz="107956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0" name="Text Placeholder 69"/>
          <p:cNvSpPr>
            <a:spLocks noGrp="1"/>
          </p:cNvSpPr>
          <p:nvPr>
            <p:ph type="body" idx="1"/>
          </p:nvPr>
        </p:nvSpPr>
        <p:spPr>
          <a:xfrm>
            <a:off x="481545" y="1388146"/>
            <a:ext cx="9001007" cy="4629150"/>
          </a:xfrm>
          <a:prstGeom prst="rect">
            <a:avLst/>
          </a:prstGeom>
        </p:spPr>
        <p:txBody>
          <a:bodyPr vert="horz" lIns="98660" tIns="49329" rIns="98660" bIns="49329" rtlCol="0">
            <a:normAutofit/>
          </a:bodyPr>
          <a:lstStyle/>
          <a:p>
            <a:pPr marL="369975" marR="0" lvl="0" indent="-369975" algn="l" defTabSz="107956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Образец текста</a:t>
            </a:r>
          </a:p>
          <a:p>
            <a:pPr marL="369975" marR="0" lvl="1" indent="-369975" algn="l" defTabSz="107956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Второй уровень</a:t>
            </a:r>
          </a:p>
          <a:p>
            <a:pPr marL="369975" marR="0" lvl="2" indent="-369975" algn="l" defTabSz="107956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Третий уровень</a:t>
            </a:r>
          </a:p>
          <a:p>
            <a:pPr marL="369975" marR="0" lvl="3" indent="-369975" algn="l" defTabSz="107956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Четвертый уровень</a:t>
            </a:r>
          </a:p>
          <a:p>
            <a:pPr marL="369975" marR="0" lvl="4" indent="-369975" algn="l" defTabSz="107956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Пятый уровень</a:t>
            </a:r>
            <a:endParaRPr lang="ru-RU" dirty="0"/>
          </a:p>
        </p:txBody>
      </p:sp>
      <p:pic>
        <p:nvPicPr>
          <p:cNvPr id="78" name="Picture 3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4653" y="390202"/>
            <a:ext cx="1508257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4"/>
          <p:cNvPicPr preferRelativeResize="0">
            <a:picLocks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651" y="196462"/>
            <a:ext cx="46435" cy="92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594" y="6368424"/>
            <a:ext cx="1371600" cy="401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20220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7" r:id="rId4"/>
    <p:sldLayoutId id="2147483698" r:id="rId5"/>
    <p:sldLayoutId id="2147483699" r:id="rId6"/>
  </p:sldLayoutIdLst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ctr" defTabSz="1079560" rtl="0" eaLnBrk="1" fontAlgn="base" hangingPunct="1">
        <a:spcBef>
          <a:spcPct val="0"/>
        </a:spcBef>
        <a:spcAft>
          <a:spcPct val="0"/>
        </a:spcAft>
        <a:defRPr kumimoji="0" lang="ru-RU" sz="2100" b="1" i="0" u="none" strike="noStrike" kern="0" cap="none" spc="0" normalizeH="0" baseline="0" noProof="0" smtClean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  <a:lvl2pPr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2pPr>
      <a:lvl3pPr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3pPr>
      <a:lvl4pPr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4pPr>
      <a:lvl5pPr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5pPr>
      <a:lvl6pPr marL="492733"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6pPr>
      <a:lvl7pPr marL="985461"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7pPr>
      <a:lvl8pPr marL="1478194"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8pPr>
      <a:lvl9pPr marL="1970927"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9pPr>
    </p:titleStyle>
    <p:bodyStyle>
      <a:lvl1pPr marL="405476" indent="-405476" algn="l" defTabSz="1079560" rtl="0" eaLnBrk="1" fontAlgn="base" hangingPunct="1">
        <a:spcBef>
          <a:spcPct val="20000"/>
        </a:spcBef>
        <a:spcAft>
          <a:spcPct val="0"/>
        </a:spcAft>
        <a:buChar char="•"/>
        <a:defRPr kumimoji="0" lang="en-US" altLang="en-US" sz="19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877678" indent="-338753" algn="l" defTabSz="1079560" rtl="0" eaLnBrk="1" fontAlgn="base" hangingPunct="1">
        <a:spcBef>
          <a:spcPct val="20000"/>
        </a:spcBef>
        <a:spcAft>
          <a:spcPct val="0"/>
        </a:spcAft>
        <a:buChar char="–"/>
        <a:defRPr kumimoji="0" lang="en-US" altLang="en-US" sz="17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1349880" indent="-270316" algn="l" defTabSz="1079560" rtl="0" eaLnBrk="1" fontAlgn="base" hangingPunct="1">
        <a:spcBef>
          <a:spcPct val="20000"/>
        </a:spcBef>
        <a:spcAft>
          <a:spcPct val="0"/>
        </a:spcAft>
        <a:buChar char="•"/>
        <a:defRPr kumimoji="0" lang="en-US" altLang="en-US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1888802" indent="-270316" algn="l" defTabSz="1079560" rtl="0" eaLnBrk="1" fontAlgn="base" hangingPunct="1">
        <a:spcBef>
          <a:spcPct val="20000"/>
        </a:spcBef>
        <a:spcAft>
          <a:spcPct val="0"/>
        </a:spcAft>
        <a:buChar char="–"/>
        <a:defRPr kumimoji="0" lang="en-US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2427732" indent="-268607" algn="l" defTabSz="1079560" rtl="0" eaLnBrk="1" fontAlgn="base" hangingPunct="1">
        <a:spcBef>
          <a:spcPct val="20000"/>
        </a:spcBef>
        <a:spcAft>
          <a:spcPct val="0"/>
        </a:spcAft>
        <a:buChar char="»"/>
        <a:defRPr kumimoji="0" lang="ru-RU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920459" indent="-268607" algn="l" defTabSz="1079560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6pPr>
      <a:lvl7pPr marL="3413192" indent="-268607" algn="l" defTabSz="1079560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7pPr>
      <a:lvl8pPr marL="3905914" indent="-268607" algn="l" defTabSz="1079560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8pPr>
      <a:lvl9pPr marL="4398651" indent="-268607" algn="l" defTabSz="1079560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2733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5461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8194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70927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63656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56386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49116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41848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94696948"/>
              </p:ext>
            </p:extLst>
          </p:nvPr>
        </p:nvGraphicFramePr>
        <p:xfrm>
          <a:off x="1644" y="1650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4" y="1650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735" y="6400915"/>
            <a:ext cx="807156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07928" tIns="53962" rIns="107928" bIns="53962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500" b="1" i="1">
                <a:solidFill>
                  <a:srgbClr val="008080"/>
                </a:solidFill>
              </a:defRPr>
            </a:lvl1pPr>
          </a:lstStyle>
          <a:p>
            <a:pPr defTabSz="1031468" fontAlgn="base">
              <a:spcAft>
                <a:spcPct val="0"/>
              </a:spcAft>
              <a:defRPr/>
            </a:pPr>
            <a:fld id="{62904C63-2B24-46AF-B25E-66CB8A4EF8F1}" type="slidenum">
              <a:rPr lang="ru-RU" smtClean="0"/>
              <a:pPr defTabSz="1031468" fontAlgn="base">
                <a:spcAft>
                  <a:spcPct val="0"/>
                </a:spcAft>
                <a:defRPr/>
              </a:pPr>
              <a:t>‹#›</a:t>
            </a:fld>
            <a:r>
              <a:rPr lang="ru-RU" sz="1200" smtClean="0">
                <a:solidFill>
                  <a:srgbClr val="808080"/>
                </a:solidFill>
              </a:rPr>
              <a:t> </a:t>
            </a:r>
            <a:endParaRPr lang="ru-RU" sz="1200" dirty="0">
              <a:solidFill>
                <a:srgbClr val="808080"/>
              </a:solidFill>
            </a:endParaRPr>
          </a:p>
        </p:txBody>
      </p:sp>
      <p:sp>
        <p:nvSpPr>
          <p:cNvPr id="1039" name="Line 15"/>
          <p:cNvSpPr>
            <a:spLocks noChangeShapeType="1"/>
          </p:cNvSpPr>
          <p:nvPr/>
        </p:nvSpPr>
        <p:spPr bwMode="auto">
          <a:xfrm>
            <a:off x="9098844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98546" tIns="49275" rIns="98546" bIns="49275" anchor="ctr"/>
          <a:lstStyle/>
          <a:p>
            <a:pPr defTabSz="1031468"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2000">
              <a:solidFill>
                <a:srgbClr val="000000"/>
              </a:solidFill>
            </a:endParaRPr>
          </a:p>
        </p:txBody>
      </p:sp>
      <p:grpSp>
        <p:nvGrpSpPr>
          <p:cNvPr id="77" name="Group 76"/>
          <p:cNvGrpSpPr/>
          <p:nvPr/>
        </p:nvGrpSpPr>
        <p:grpSpPr>
          <a:xfrm>
            <a:off x="-894292" y="111"/>
            <a:ext cx="669572" cy="3260401"/>
            <a:chOff x="-928688" y="0"/>
            <a:chExt cx="695325" cy="3441534"/>
          </a:xfrm>
        </p:grpSpPr>
        <p:sp>
          <p:nvSpPr>
            <p:cNvPr id="55" name="Rectangle 54"/>
            <p:cNvSpPr/>
            <p:nvPr userDrawn="1"/>
          </p:nvSpPr>
          <p:spPr bwMode="auto">
            <a:xfrm>
              <a:off x="-928688" y="0"/>
              <a:ext cx="695325" cy="276225"/>
            </a:xfrm>
            <a:prstGeom prst="rect">
              <a:avLst/>
            </a:prstGeom>
            <a:solidFill>
              <a:srgbClr val="0080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FFFFFF"/>
                  </a:solidFill>
                </a:rPr>
                <a:t>0.128.128</a:t>
              </a:r>
              <a:endParaRPr lang="es-ES_tradnl" sz="900" b="0" dirty="0">
                <a:solidFill>
                  <a:srgbClr val="FFFFFF"/>
                </a:solidFill>
              </a:endParaRPr>
            </a:p>
          </p:txBody>
        </p:sp>
        <p:sp>
          <p:nvSpPr>
            <p:cNvPr id="56" name="Rectangle 55"/>
            <p:cNvSpPr/>
            <p:nvPr userDrawn="1"/>
          </p:nvSpPr>
          <p:spPr bwMode="auto">
            <a:xfrm>
              <a:off x="-928688" y="350996"/>
              <a:ext cx="695325" cy="277811"/>
            </a:xfrm>
            <a:prstGeom prst="rect">
              <a:avLst/>
            </a:prstGeom>
            <a:solidFill>
              <a:srgbClr val="99CC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FFFFFF"/>
                  </a:solidFill>
                </a:rPr>
                <a:t>153.204.0</a:t>
              </a:r>
              <a:endParaRPr lang="es-ES_tradnl" sz="900" b="0" dirty="0">
                <a:solidFill>
                  <a:srgbClr val="FFFFFF"/>
                </a:solidFill>
              </a:endParaRPr>
            </a:p>
          </p:txBody>
        </p:sp>
        <p:sp>
          <p:nvSpPr>
            <p:cNvPr id="57" name="Rectangle 56"/>
            <p:cNvSpPr/>
            <p:nvPr userDrawn="1"/>
          </p:nvSpPr>
          <p:spPr bwMode="auto">
            <a:xfrm>
              <a:off x="-928688" y="703578"/>
              <a:ext cx="695325" cy="276225"/>
            </a:xfrm>
            <a:prstGeom prst="rect">
              <a:avLst/>
            </a:prstGeom>
            <a:solidFill>
              <a:srgbClr val="8080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FFFFFF"/>
                  </a:solidFill>
                </a:rPr>
                <a:t>128.128.128</a:t>
              </a:r>
              <a:endParaRPr lang="es-ES_tradnl" sz="900" b="0" dirty="0">
                <a:solidFill>
                  <a:srgbClr val="FFFFFF"/>
                </a:solidFill>
              </a:endParaRPr>
            </a:p>
          </p:txBody>
        </p:sp>
        <p:sp>
          <p:nvSpPr>
            <p:cNvPr id="58" name="Rectangle 57"/>
            <p:cNvSpPr/>
            <p:nvPr userDrawn="1"/>
          </p:nvSpPr>
          <p:spPr bwMode="auto">
            <a:xfrm>
              <a:off x="-928688" y="1054574"/>
              <a:ext cx="695325" cy="277812"/>
            </a:xfrm>
            <a:prstGeom prst="rect">
              <a:avLst/>
            </a:prstGeom>
            <a:solidFill>
              <a:srgbClr val="D0D0D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08. 208.208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59" name="Rectangle 58"/>
            <p:cNvSpPr/>
            <p:nvPr userDrawn="1"/>
          </p:nvSpPr>
          <p:spPr bwMode="auto">
            <a:xfrm>
              <a:off x="-928688" y="1407157"/>
              <a:ext cx="695325" cy="276225"/>
            </a:xfrm>
            <a:prstGeom prst="rect">
              <a:avLst/>
            </a:prstGeom>
            <a:solidFill>
              <a:srgbClr val="F58A1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45.138.31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60" name="Rectangle 59"/>
            <p:cNvSpPr/>
            <p:nvPr userDrawn="1"/>
          </p:nvSpPr>
          <p:spPr bwMode="auto">
            <a:xfrm>
              <a:off x="-928688" y="2109149"/>
              <a:ext cx="695325" cy="277811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192.0.0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61" name="Rectangle 60"/>
            <p:cNvSpPr/>
            <p:nvPr userDrawn="1"/>
          </p:nvSpPr>
          <p:spPr bwMode="auto">
            <a:xfrm>
              <a:off x="-928688" y="2812727"/>
              <a:ext cx="695325" cy="276225"/>
            </a:xfrm>
            <a:prstGeom prst="rect">
              <a:avLst/>
            </a:prstGeom>
            <a:solidFill>
              <a:srgbClr val="F2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42. 242. </a:t>
              </a:r>
              <a:r>
                <a:rPr lang="es-ES_tradnl" sz="900" b="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Rectangle 61"/>
            <p:cNvSpPr/>
            <p:nvPr userDrawn="1"/>
          </p:nvSpPr>
          <p:spPr bwMode="auto">
            <a:xfrm>
              <a:off x="-928688" y="1758153"/>
              <a:ext cx="695325" cy="276225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55.192.0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63" name="Rectangle 62"/>
            <p:cNvSpPr/>
            <p:nvPr userDrawn="1"/>
          </p:nvSpPr>
          <p:spPr bwMode="auto">
            <a:xfrm>
              <a:off x="-928688" y="3163723"/>
              <a:ext cx="695325" cy="277811"/>
            </a:xfrm>
            <a:prstGeom prst="rect">
              <a:avLst/>
            </a:prstGeom>
            <a:solidFill>
              <a:srgbClr val="E5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29.242.242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/>
            <p:cNvSpPr/>
            <p:nvPr userDrawn="1"/>
          </p:nvSpPr>
          <p:spPr bwMode="auto">
            <a:xfrm>
              <a:off x="-928688" y="2461731"/>
              <a:ext cx="695325" cy="276225"/>
            </a:xfrm>
            <a:prstGeom prst="rect">
              <a:avLst/>
            </a:prstGeom>
            <a:solidFill>
              <a:srgbClr val="B2D2D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178.210.216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8" name="Title Placeholder 67"/>
          <p:cNvSpPr>
            <a:spLocks noGrp="1"/>
          </p:cNvSpPr>
          <p:nvPr>
            <p:ph type="title"/>
          </p:nvPr>
        </p:nvSpPr>
        <p:spPr>
          <a:xfrm>
            <a:off x="495365" y="275225"/>
            <a:ext cx="8410139" cy="766144"/>
          </a:xfrm>
          <a:prstGeom prst="rect">
            <a:avLst/>
          </a:prstGeom>
          <a:noFill/>
        </p:spPr>
        <p:txBody>
          <a:bodyPr lIns="98660" tIns="49329" rIns="98660" bIns="49329"/>
          <a:lstStyle/>
          <a:p>
            <a:pPr marL="0" marR="0" lvl="0" indent="0" algn="l" defTabSz="107956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0" name="Text Placeholder 69"/>
          <p:cNvSpPr>
            <a:spLocks noGrp="1"/>
          </p:cNvSpPr>
          <p:nvPr>
            <p:ph type="body" idx="1"/>
          </p:nvPr>
        </p:nvSpPr>
        <p:spPr>
          <a:xfrm>
            <a:off x="481545" y="1388146"/>
            <a:ext cx="9001007" cy="4629150"/>
          </a:xfrm>
          <a:prstGeom prst="rect">
            <a:avLst/>
          </a:prstGeom>
        </p:spPr>
        <p:txBody>
          <a:bodyPr vert="horz" lIns="98660" tIns="49329" rIns="98660" bIns="49329" rtlCol="0">
            <a:normAutofit/>
          </a:bodyPr>
          <a:lstStyle/>
          <a:p>
            <a:pPr marL="369975" marR="0" lvl="0" indent="-369975" algn="l" defTabSz="107956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Образец текста</a:t>
            </a:r>
          </a:p>
          <a:p>
            <a:pPr marL="369975" marR="0" lvl="1" indent="-369975" algn="l" defTabSz="107956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Второй уровень</a:t>
            </a:r>
          </a:p>
          <a:p>
            <a:pPr marL="369975" marR="0" lvl="2" indent="-369975" algn="l" defTabSz="107956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Третий уровень</a:t>
            </a:r>
          </a:p>
          <a:p>
            <a:pPr marL="369975" marR="0" lvl="3" indent="-369975" algn="l" defTabSz="107956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Четвертый уровень</a:t>
            </a:r>
          </a:p>
          <a:p>
            <a:pPr marL="369975" marR="0" lvl="4" indent="-369975" algn="l" defTabSz="107956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Пятый уровень</a:t>
            </a:r>
            <a:endParaRPr lang="ru-RU" dirty="0"/>
          </a:p>
        </p:txBody>
      </p:sp>
      <p:pic>
        <p:nvPicPr>
          <p:cNvPr id="78" name="Picture 3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4653" y="390202"/>
            <a:ext cx="1508257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4"/>
          <p:cNvPicPr preferRelativeResize="0">
            <a:picLocks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651" y="196462"/>
            <a:ext cx="46435" cy="92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594" y="6368424"/>
            <a:ext cx="1371600" cy="401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17512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</p:sldLayoutIdLst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ctr" defTabSz="1079560" rtl="0" eaLnBrk="1" fontAlgn="base" hangingPunct="1">
        <a:spcBef>
          <a:spcPct val="0"/>
        </a:spcBef>
        <a:spcAft>
          <a:spcPct val="0"/>
        </a:spcAft>
        <a:defRPr kumimoji="0" lang="ru-RU" sz="2100" b="1" i="0" u="none" strike="noStrike" kern="0" cap="none" spc="0" normalizeH="0" baseline="0" noProof="0" smtClean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  <a:lvl2pPr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2pPr>
      <a:lvl3pPr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3pPr>
      <a:lvl4pPr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4pPr>
      <a:lvl5pPr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5pPr>
      <a:lvl6pPr marL="492733"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6pPr>
      <a:lvl7pPr marL="985461"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7pPr>
      <a:lvl8pPr marL="1478194"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8pPr>
      <a:lvl9pPr marL="1970927"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9pPr>
    </p:titleStyle>
    <p:bodyStyle>
      <a:lvl1pPr marL="405476" indent="-405476" algn="l" defTabSz="1079560" rtl="0" eaLnBrk="1" fontAlgn="base" hangingPunct="1">
        <a:spcBef>
          <a:spcPct val="20000"/>
        </a:spcBef>
        <a:spcAft>
          <a:spcPct val="0"/>
        </a:spcAft>
        <a:buChar char="•"/>
        <a:defRPr kumimoji="0" lang="en-US" altLang="en-US" sz="19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877678" indent="-338753" algn="l" defTabSz="1079560" rtl="0" eaLnBrk="1" fontAlgn="base" hangingPunct="1">
        <a:spcBef>
          <a:spcPct val="20000"/>
        </a:spcBef>
        <a:spcAft>
          <a:spcPct val="0"/>
        </a:spcAft>
        <a:buChar char="–"/>
        <a:defRPr kumimoji="0" lang="en-US" altLang="en-US" sz="17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1349880" indent="-270316" algn="l" defTabSz="1079560" rtl="0" eaLnBrk="1" fontAlgn="base" hangingPunct="1">
        <a:spcBef>
          <a:spcPct val="20000"/>
        </a:spcBef>
        <a:spcAft>
          <a:spcPct val="0"/>
        </a:spcAft>
        <a:buChar char="•"/>
        <a:defRPr kumimoji="0" lang="en-US" altLang="en-US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1888802" indent="-270316" algn="l" defTabSz="1079560" rtl="0" eaLnBrk="1" fontAlgn="base" hangingPunct="1">
        <a:spcBef>
          <a:spcPct val="20000"/>
        </a:spcBef>
        <a:spcAft>
          <a:spcPct val="0"/>
        </a:spcAft>
        <a:buChar char="–"/>
        <a:defRPr kumimoji="0" lang="en-US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2427732" indent="-268607" algn="l" defTabSz="1079560" rtl="0" eaLnBrk="1" fontAlgn="base" hangingPunct="1">
        <a:spcBef>
          <a:spcPct val="20000"/>
        </a:spcBef>
        <a:spcAft>
          <a:spcPct val="0"/>
        </a:spcAft>
        <a:buChar char="»"/>
        <a:defRPr kumimoji="0" lang="ru-RU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920459" indent="-268607" algn="l" defTabSz="1079560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6pPr>
      <a:lvl7pPr marL="3413192" indent="-268607" algn="l" defTabSz="1079560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7pPr>
      <a:lvl8pPr marL="3905914" indent="-268607" algn="l" defTabSz="1079560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8pPr>
      <a:lvl9pPr marL="4398651" indent="-268607" algn="l" defTabSz="1079560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2733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5461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8194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70927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63656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56386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49116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41848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78069594"/>
              </p:ext>
            </p:extLst>
          </p:nvPr>
        </p:nvGraphicFramePr>
        <p:xfrm>
          <a:off x="1644" y="1650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4" y="1650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735" y="6400915"/>
            <a:ext cx="807156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07928" tIns="53962" rIns="107928" bIns="53962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500" b="1" i="1">
                <a:solidFill>
                  <a:srgbClr val="008080"/>
                </a:solidFill>
              </a:defRPr>
            </a:lvl1pPr>
          </a:lstStyle>
          <a:p>
            <a:pPr defTabSz="1031468" fontAlgn="base">
              <a:spcAft>
                <a:spcPct val="0"/>
              </a:spcAft>
              <a:defRPr/>
            </a:pPr>
            <a:fld id="{62904C63-2B24-46AF-B25E-66CB8A4EF8F1}" type="slidenum">
              <a:rPr lang="ru-RU" smtClean="0"/>
              <a:pPr defTabSz="1031468" fontAlgn="base">
                <a:spcAft>
                  <a:spcPct val="0"/>
                </a:spcAft>
                <a:defRPr/>
              </a:pPr>
              <a:t>‹#›</a:t>
            </a:fld>
            <a:r>
              <a:rPr lang="ru-RU" sz="1200" smtClean="0">
                <a:solidFill>
                  <a:srgbClr val="808080"/>
                </a:solidFill>
              </a:rPr>
              <a:t> </a:t>
            </a:r>
            <a:endParaRPr lang="ru-RU" sz="1200" dirty="0">
              <a:solidFill>
                <a:srgbClr val="808080"/>
              </a:solidFill>
            </a:endParaRPr>
          </a:p>
        </p:txBody>
      </p:sp>
      <p:sp>
        <p:nvSpPr>
          <p:cNvPr id="1039" name="Line 15"/>
          <p:cNvSpPr>
            <a:spLocks noChangeShapeType="1"/>
          </p:cNvSpPr>
          <p:nvPr/>
        </p:nvSpPr>
        <p:spPr bwMode="auto">
          <a:xfrm>
            <a:off x="9098844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98546" tIns="49275" rIns="98546" bIns="49275" anchor="ctr"/>
          <a:lstStyle/>
          <a:p>
            <a:pPr defTabSz="1031468"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2000">
              <a:solidFill>
                <a:srgbClr val="000000"/>
              </a:solidFill>
            </a:endParaRPr>
          </a:p>
        </p:txBody>
      </p:sp>
      <p:grpSp>
        <p:nvGrpSpPr>
          <p:cNvPr id="77" name="Group 76"/>
          <p:cNvGrpSpPr/>
          <p:nvPr/>
        </p:nvGrpSpPr>
        <p:grpSpPr>
          <a:xfrm>
            <a:off x="-894292" y="111"/>
            <a:ext cx="669572" cy="3260401"/>
            <a:chOff x="-928688" y="0"/>
            <a:chExt cx="695325" cy="3441534"/>
          </a:xfrm>
        </p:grpSpPr>
        <p:sp>
          <p:nvSpPr>
            <p:cNvPr id="55" name="Rectangle 54"/>
            <p:cNvSpPr/>
            <p:nvPr userDrawn="1"/>
          </p:nvSpPr>
          <p:spPr bwMode="auto">
            <a:xfrm>
              <a:off x="-928688" y="0"/>
              <a:ext cx="695325" cy="276225"/>
            </a:xfrm>
            <a:prstGeom prst="rect">
              <a:avLst/>
            </a:prstGeom>
            <a:solidFill>
              <a:srgbClr val="0080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FFFFFF"/>
                  </a:solidFill>
                </a:rPr>
                <a:t>0.128.128</a:t>
              </a:r>
              <a:endParaRPr lang="es-ES_tradnl" sz="900" b="0" dirty="0">
                <a:solidFill>
                  <a:srgbClr val="FFFFFF"/>
                </a:solidFill>
              </a:endParaRPr>
            </a:p>
          </p:txBody>
        </p:sp>
        <p:sp>
          <p:nvSpPr>
            <p:cNvPr id="56" name="Rectangle 55"/>
            <p:cNvSpPr/>
            <p:nvPr userDrawn="1"/>
          </p:nvSpPr>
          <p:spPr bwMode="auto">
            <a:xfrm>
              <a:off x="-928688" y="350996"/>
              <a:ext cx="695325" cy="277811"/>
            </a:xfrm>
            <a:prstGeom prst="rect">
              <a:avLst/>
            </a:prstGeom>
            <a:solidFill>
              <a:srgbClr val="99CC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FFFFFF"/>
                  </a:solidFill>
                </a:rPr>
                <a:t>153.204.0</a:t>
              </a:r>
              <a:endParaRPr lang="es-ES_tradnl" sz="900" b="0" dirty="0">
                <a:solidFill>
                  <a:srgbClr val="FFFFFF"/>
                </a:solidFill>
              </a:endParaRPr>
            </a:p>
          </p:txBody>
        </p:sp>
        <p:sp>
          <p:nvSpPr>
            <p:cNvPr id="57" name="Rectangle 56"/>
            <p:cNvSpPr/>
            <p:nvPr userDrawn="1"/>
          </p:nvSpPr>
          <p:spPr bwMode="auto">
            <a:xfrm>
              <a:off x="-928688" y="703578"/>
              <a:ext cx="695325" cy="276225"/>
            </a:xfrm>
            <a:prstGeom prst="rect">
              <a:avLst/>
            </a:prstGeom>
            <a:solidFill>
              <a:srgbClr val="8080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FFFFFF"/>
                  </a:solidFill>
                </a:rPr>
                <a:t>128.128.128</a:t>
              </a:r>
              <a:endParaRPr lang="es-ES_tradnl" sz="900" b="0" dirty="0">
                <a:solidFill>
                  <a:srgbClr val="FFFFFF"/>
                </a:solidFill>
              </a:endParaRPr>
            </a:p>
          </p:txBody>
        </p:sp>
        <p:sp>
          <p:nvSpPr>
            <p:cNvPr id="58" name="Rectangle 57"/>
            <p:cNvSpPr/>
            <p:nvPr userDrawn="1"/>
          </p:nvSpPr>
          <p:spPr bwMode="auto">
            <a:xfrm>
              <a:off x="-928688" y="1054574"/>
              <a:ext cx="695325" cy="277812"/>
            </a:xfrm>
            <a:prstGeom prst="rect">
              <a:avLst/>
            </a:prstGeom>
            <a:solidFill>
              <a:srgbClr val="D0D0D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08. 208.208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59" name="Rectangle 58"/>
            <p:cNvSpPr/>
            <p:nvPr userDrawn="1"/>
          </p:nvSpPr>
          <p:spPr bwMode="auto">
            <a:xfrm>
              <a:off x="-928688" y="1407157"/>
              <a:ext cx="695325" cy="276225"/>
            </a:xfrm>
            <a:prstGeom prst="rect">
              <a:avLst/>
            </a:prstGeom>
            <a:solidFill>
              <a:srgbClr val="F58A1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45.138.31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60" name="Rectangle 59"/>
            <p:cNvSpPr/>
            <p:nvPr userDrawn="1"/>
          </p:nvSpPr>
          <p:spPr bwMode="auto">
            <a:xfrm>
              <a:off x="-928688" y="2109149"/>
              <a:ext cx="695325" cy="277811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192.0.0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61" name="Rectangle 60"/>
            <p:cNvSpPr/>
            <p:nvPr userDrawn="1"/>
          </p:nvSpPr>
          <p:spPr bwMode="auto">
            <a:xfrm>
              <a:off x="-928688" y="2812727"/>
              <a:ext cx="695325" cy="276225"/>
            </a:xfrm>
            <a:prstGeom prst="rect">
              <a:avLst/>
            </a:prstGeom>
            <a:solidFill>
              <a:srgbClr val="F2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42. 242. </a:t>
              </a:r>
              <a:r>
                <a:rPr lang="es-ES_tradnl" sz="900" b="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Rectangle 61"/>
            <p:cNvSpPr/>
            <p:nvPr userDrawn="1"/>
          </p:nvSpPr>
          <p:spPr bwMode="auto">
            <a:xfrm>
              <a:off x="-928688" y="1758153"/>
              <a:ext cx="695325" cy="276225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55.192.0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63" name="Rectangle 62"/>
            <p:cNvSpPr/>
            <p:nvPr userDrawn="1"/>
          </p:nvSpPr>
          <p:spPr bwMode="auto">
            <a:xfrm>
              <a:off x="-928688" y="3163723"/>
              <a:ext cx="695325" cy="277811"/>
            </a:xfrm>
            <a:prstGeom prst="rect">
              <a:avLst/>
            </a:prstGeom>
            <a:solidFill>
              <a:srgbClr val="E5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29.242.242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/>
            <p:cNvSpPr/>
            <p:nvPr userDrawn="1"/>
          </p:nvSpPr>
          <p:spPr bwMode="auto">
            <a:xfrm>
              <a:off x="-928688" y="2461731"/>
              <a:ext cx="695325" cy="276225"/>
            </a:xfrm>
            <a:prstGeom prst="rect">
              <a:avLst/>
            </a:prstGeom>
            <a:solidFill>
              <a:srgbClr val="B2D2D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468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178.210.216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8" name="Title Placeholder 67"/>
          <p:cNvSpPr>
            <a:spLocks noGrp="1"/>
          </p:cNvSpPr>
          <p:nvPr>
            <p:ph type="title"/>
          </p:nvPr>
        </p:nvSpPr>
        <p:spPr>
          <a:xfrm>
            <a:off x="495365" y="275225"/>
            <a:ext cx="8410139" cy="766144"/>
          </a:xfrm>
          <a:prstGeom prst="rect">
            <a:avLst/>
          </a:prstGeom>
          <a:noFill/>
        </p:spPr>
        <p:txBody>
          <a:bodyPr lIns="98660" tIns="49329" rIns="98660" bIns="49329"/>
          <a:lstStyle/>
          <a:p>
            <a:pPr marL="0" marR="0" lvl="0" indent="0" algn="l" defTabSz="107956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0" name="Text Placeholder 69"/>
          <p:cNvSpPr>
            <a:spLocks noGrp="1"/>
          </p:cNvSpPr>
          <p:nvPr>
            <p:ph type="body" idx="1"/>
          </p:nvPr>
        </p:nvSpPr>
        <p:spPr>
          <a:xfrm>
            <a:off x="481545" y="1388146"/>
            <a:ext cx="9001007" cy="4629150"/>
          </a:xfrm>
          <a:prstGeom prst="rect">
            <a:avLst/>
          </a:prstGeom>
        </p:spPr>
        <p:txBody>
          <a:bodyPr vert="horz" lIns="98660" tIns="49329" rIns="98660" bIns="49329" rtlCol="0">
            <a:normAutofit/>
          </a:bodyPr>
          <a:lstStyle/>
          <a:p>
            <a:pPr marL="369975" marR="0" lvl="0" indent="-369975" algn="l" defTabSz="107956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Образец текста</a:t>
            </a:r>
          </a:p>
          <a:p>
            <a:pPr marL="369975" marR="0" lvl="1" indent="-369975" algn="l" defTabSz="107956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Второй уровень</a:t>
            </a:r>
          </a:p>
          <a:p>
            <a:pPr marL="369975" marR="0" lvl="2" indent="-369975" algn="l" defTabSz="107956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Третий уровень</a:t>
            </a:r>
          </a:p>
          <a:p>
            <a:pPr marL="369975" marR="0" lvl="3" indent="-369975" algn="l" defTabSz="107956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Четвертый уровень</a:t>
            </a:r>
          </a:p>
          <a:p>
            <a:pPr marL="369975" marR="0" lvl="4" indent="-369975" algn="l" defTabSz="107956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ru-RU" smtClean="0"/>
              <a:t>Пятый уровень</a:t>
            </a:r>
            <a:endParaRPr lang="ru-RU" dirty="0"/>
          </a:p>
        </p:txBody>
      </p:sp>
      <p:pic>
        <p:nvPicPr>
          <p:cNvPr id="78" name="Picture 3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4653" y="390202"/>
            <a:ext cx="1508257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4"/>
          <p:cNvPicPr preferRelativeResize="0">
            <a:picLocks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651" y="196462"/>
            <a:ext cx="46435" cy="92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594" y="6368424"/>
            <a:ext cx="1371600" cy="401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3825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3" r:id="rId4"/>
  </p:sldLayoutIdLst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ctr" defTabSz="1079560" rtl="0" eaLnBrk="1" fontAlgn="base" hangingPunct="1">
        <a:spcBef>
          <a:spcPct val="0"/>
        </a:spcBef>
        <a:spcAft>
          <a:spcPct val="0"/>
        </a:spcAft>
        <a:defRPr kumimoji="0" lang="ru-RU" sz="2100" b="1" i="0" u="none" strike="noStrike" kern="0" cap="none" spc="0" normalizeH="0" baseline="0" noProof="0" smtClean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  <a:lvl2pPr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2pPr>
      <a:lvl3pPr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3pPr>
      <a:lvl4pPr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4pPr>
      <a:lvl5pPr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5pPr>
      <a:lvl6pPr marL="492733"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6pPr>
      <a:lvl7pPr marL="985461"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7pPr>
      <a:lvl8pPr marL="1478194"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8pPr>
      <a:lvl9pPr marL="1970927" algn="ctr" defTabSz="1079560" rtl="0" eaLnBrk="1" fontAlgn="base" hangingPunct="1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9pPr>
    </p:titleStyle>
    <p:bodyStyle>
      <a:lvl1pPr marL="405476" indent="-405476" algn="l" defTabSz="1079560" rtl="0" eaLnBrk="1" fontAlgn="base" hangingPunct="1">
        <a:spcBef>
          <a:spcPct val="20000"/>
        </a:spcBef>
        <a:spcAft>
          <a:spcPct val="0"/>
        </a:spcAft>
        <a:buChar char="•"/>
        <a:defRPr kumimoji="0" lang="en-US" altLang="en-US" sz="19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877678" indent="-338753" algn="l" defTabSz="1079560" rtl="0" eaLnBrk="1" fontAlgn="base" hangingPunct="1">
        <a:spcBef>
          <a:spcPct val="20000"/>
        </a:spcBef>
        <a:spcAft>
          <a:spcPct val="0"/>
        </a:spcAft>
        <a:buChar char="–"/>
        <a:defRPr kumimoji="0" lang="en-US" altLang="en-US" sz="17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1349880" indent="-270316" algn="l" defTabSz="1079560" rtl="0" eaLnBrk="1" fontAlgn="base" hangingPunct="1">
        <a:spcBef>
          <a:spcPct val="20000"/>
        </a:spcBef>
        <a:spcAft>
          <a:spcPct val="0"/>
        </a:spcAft>
        <a:buChar char="•"/>
        <a:defRPr kumimoji="0" lang="en-US" altLang="en-US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1888802" indent="-270316" algn="l" defTabSz="1079560" rtl="0" eaLnBrk="1" fontAlgn="base" hangingPunct="1">
        <a:spcBef>
          <a:spcPct val="20000"/>
        </a:spcBef>
        <a:spcAft>
          <a:spcPct val="0"/>
        </a:spcAft>
        <a:buChar char="–"/>
        <a:defRPr kumimoji="0" lang="en-US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2427732" indent="-268607" algn="l" defTabSz="1079560" rtl="0" eaLnBrk="1" fontAlgn="base" hangingPunct="1">
        <a:spcBef>
          <a:spcPct val="20000"/>
        </a:spcBef>
        <a:spcAft>
          <a:spcPct val="0"/>
        </a:spcAft>
        <a:buChar char="»"/>
        <a:defRPr kumimoji="0" lang="ru-RU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920459" indent="-268607" algn="l" defTabSz="1079560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6pPr>
      <a:lvl7pPr marL="3413192" indent="-268607" algn="l" defTabSz="1079560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7pPr>
      <a:lvl8pPr marL="3905914" indent="-268607" algn="l" defTabSz="1079560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8pPr>
      <a:lvl9pPr marL="4398651" indent="-268607" algn="l" defTabSz="1079560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2733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5461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8194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70927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63656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56386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49116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41848" algn="l" defTabSz="98546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786369938"/>
              </p:ext>
            </p:extLst>
          </p:nvPr>
        </p:nvGraphicFramePr>
        <p:xfrm>
          <a:off x="1693" y="1595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34" name="think-cell Slide" r:id="rId29" imgW="572" imgH="572" progId="TCLayout.ActiveDocument.1">
                  <p:embed/>
                </p:oleObj>
              </mc:Choice>
              <mc:Fallback>
                <p:oleObj name="think-cell Slide" r:id="rId29" imgW="572" imgH="5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693" y="1595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591" y="6493913"/>
            <a:ext cx="946800" cy="2772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56512" y="6400989"/>
            <a:ext cx="807156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487" tIns="47747" rIns="95487" bIns="47747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500" b="1" i="1">
                <a:solidFill>
                  <a:srgbClr val="008080"/>
                </a:solidFill>
              </a:defRPr>
            </a:lvl1pPr>
          </a:lstStyle>
          <a:p>
            <a:pPr defTabSz="912599" fontAlgn="base">
              <a:spcAft>
                <a:spcPct val="0"/>
              </a:spcAft>
              <a:defRPr/>
            </a:pPr>
            <a:fld id="{62904C63-2B24-46AF-B25E-66CB8A4EF8F1}" type="slidenum">
              <a:rPr lang="ru-RU" smtClean="0"/>
              <a:pPr defTabSz="912599" fontAlgn="base">
                <a:spcAft>
                  <a:spcPct val="0"/>
                </a:spcAft>
                <a:defRPr/>
              </a:pPr>
              <a:t>‹#›</a:t>
            </a:fld>
            <a:r>
              <a:rPr lang="ru-RU" sz="1100" smtClean="0">
                <a:solidFill>
                  <a:srgbClr val="808080"/>
                </a:solidFill>
              </a:rPr>
              <a:t> </a:t>
            </a:r>
            <a:endParaRPr lang="ru-RU" sz="1100" dirty="0">
              <a:solidFill>
                <a:srgbClr val="808080"/>
              </a:solidFill>
            </a:endParaRPr>
          </a:p>
        </p:txBody>
      </p:sp>
      <p:sp>
        <p:nvSpPr>
          <p:cNvPr id="1039" name="Line 15"/>
          <p:cNvSpPr>
            <a:spLocks noChangeShapeType="1"/>
          </p:cNvSpPr>
          <p:nvPr/>
        </p:nvSpPr>
        <p:spPr bwMode="auto">
          <a:xfrm>
            <a:off x="9276644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188" tIns="43595" rIns="87188" bIns="43595" anchor="ctr"/>
          <a:lstStyle/>
          <a:p>
            <a:pPr defTabSz="912599"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grpSp>
        <p:nvGrpSpPr>
          <p:cNvPr id="77" name="Group 76"/>
          <p:cNvGrpSpPr/>
          <p:nvPr/>
        </p:nvGrpSpPr>
        <p:grpSpPr>
          <a:xfrm>
            <a:off x="-894290" y="136"/>
            <a:ext cx="669572" cy="3260401"/>
            <a:chOff x="-928688" y="0"/>
            <a:chExt cx="695325" cy="3441534"/>
          </a:xfrm>
        </p:grpSpPr>
        <p:sp>
          <p:nvSpPr>
            <p:cNvPr id="55" name="Rectangle 54"/>
            <p:cNvSpPr/>
            <p:nvPr userDrawn="1"/>
          </p:nvSpPr>
          <p:spPr bwMode="auto">
            <a:xfrm>
              <a:off x="-928688" y="0"/>
              <a:ext cx="695325" cy="276225"/>
            </a:xfrm>
            <a:prstGeom prst="rect">
              <a:avLst/>
            </a:prstGeom>
            <a:solidFill>
              <a:srgbClr val="0080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2599">
                <a:defRPr/>
              </a:pPr>
              <a:r>
                <a:rPr lang="es-ES_tradnl" sz="800" b="0" smtClean="0">
                  <a:solidFill>
                    <a:srgbClr val="FFFFFF"/>
                  </a:solidFill>
                </a:rPr>
                <a:t>0.128.128</a:t>
              </a:r>
              <a:endParaRPr lang="es-ES_tradnl" sz="800" b="0" dirty="0">
                <a:solidFill>
                  <a:srgbClr val="FFFFFF"/>
                </a:solidFill>
              </a:endParaRPr>
            </a:p>
          </p:txBody>
        </p:sp>
        <p:sp>
          <p:nvSpPr>
            <p:cNvPr id="56" name="Rectangle 55"/>
            <p:cNvSpPr/>
            <p:nvPr userDrawn="1"/>
          </p:nvSpPr>
          <p:spPr bwMode="auto">
            <a:xfrm>
              <a:off x="-928688" y="350996"/>
              <a:ext cx="695325" cy="277811"/>
            </a:xfrm>
            <a:prstGeom prst="rect">
              <a:avLst/>
            </a:prstGeom>
            <a:solidFill>
              <a:srgbClr val="99CC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2599">
                <a:defRPr/>
              </a:pPr>
              <a:r>
                <a:rPr lang="es-ES_tradnl" sz="800" b="0" smtClean="0">
                  <a:solidFill>
                    <a:srgbClr val="FFFFFF"/>
                  </a:solidFill>
                </a:rPr>
                <a:t>153.204.0</a:t>
              </a:r>
              <a:endParaRPr lang="es-ES_tradnl" sz="800" b="0" dirty="0">
                <a:solidFill>
                  <a:srgbClr val="FFFFFF"/>
                </a:solidFill>
              </a:endParaRPr>
            </a:p>
          </p:txBody>
        </p:sp>
        <p:sp>
          <p:nvSpPr>
            <p:cNvPr id="57" name="Rectangle 56"/>
            <p:cNvSpPr/>
            <p:nvPr userDrawn="1"/>
          </p:nvSpPr>
          <p:spPr bwMode="auto">
            <a:xfrm>
              <a:off x="-928688" y="703578"/>
              <a:ext cx="695325" cy="276225"/>
            </a:xfrm>
            <a:prstGeom prst="rect">
              <a:avLst/>
            </a:prstGeom>
            <a:solidFill>
              <a:srgbClr val="8080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2599">
                <a:defRPr/>
              </a:pPr>
              <a:r>
                <a:rPr lang="es-ES_tradnl" sz="800" b="0" smtClean="0">
                  <a:solidFill>
                    <a:srgbClr val="FFFFFF"/>
                  </a:solidFill>
                </a:rPr>
                <a:t>128.128.128</a:t>
              </a:r>
              <a:endParaRPr lang="es-ES_tradnl" sz="800" b="0" dirty="0">
                <a:solidFill>
                  <a:srgbClr val="FFFFFF"/>
                </a:solidFill>
              </a:endParaRPr>
            </a:p>
          </p:txBody>
        </p:sp>
        <p:sp>
          <p:nvSpPr>
            <p:cNvPr id="58" name="Rectangle 57"/>
            <p:cNvSpPr/>
            <p:nvPr userDrawn="1"/>
          </p:nvSpPr>
          <p:spPr bwMode="auto">
            <a:xfrm>
              <a:off x="-928688" y="1054574"/>
              <a:ext cx="695325" cy="277812"/>
            </a:xfrm>
            <a:prstGeom prst="rect">
              <a:avLst/>
            </a:prstGeom>
            <a:solidFill>
              <a:srgbClr val="D0D0D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2599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208. 208.208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  <p:sp>
          <p:nvSpPr>
            <p:cNvPr id="59" name="Rectangle 58"/>
            <p:cNvSpPr/>
            <p:nvPr userDrawn="1"/>
          </p:nvSpPr>
          <p:spPr bwMode="auto">
            <a:xfrm>
              <a:off x="-928688" y="1407157"/>
              <a:ext cx="695325" cy="276225"/>
            </a:xfrm>
            <a:prstGeom prst="rect">
              <a:avLst/>
            </a:prstGeom>
            <a:solidFill>
              <a:srgbClr val="F58A1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2599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245.138.31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  <p:sp>
          <p:nvSpPr>
            <p:cNvPr id="60" name="Rectangle 59"/>
            <p:cNvSpPr/>
            <p:nvPr userDrawn="1"/>
          </p:nvSpPr>
          <p:spPr bwMode="auto">
            <a:xfrm>
              <a:off x="-928688" y="2109149"/>
              <a:ext cx="695325" cy="277811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2599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192.0.0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  <p:sp>
          <p:nvSpPr>
            <p:cNvPr id="61" name="Rectangle 60"/>
            <p:cNvSpPr/>
            <p:nvPr userDrawn="1"/>
          </p:nvSpPr>
          <p:spPr bwMode="auto">
            <a:xfrm>
              <a:off x="-928688" y="2812727"/>
              <a:ext cx="695325" cy="276225"/>
            </a:xfrm>
            <a:prstGeom prst="rect">
              <a:avLst/>
            </a:prstGeom>
            <a:solidFill>
              <a:srgbClr val="F2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2599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242. 242. </a:t>
              </a:r>
              <a:r>
                <a:rPr lang="es-ES_tradnl" sz="800" b="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Rectangle 61"/>
            <p:cNvSpPr/>
            <p:nvPr userDrawn="1"/>
          </p:nvSpPr>
          <p:spPr bwMode="auto">
            <a:xfrm>
              <a:off x="-928688" y="1758153"/>
              <a:ext cx="695325" cy="276225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2599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255.192.0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  <p:sp>
          <p:nvSpPr>
            <p:cNvPr id="63" name="Rectangle 62"/>
            <p:cNvSpPr/>
            <p:nvPr userDrawn="1"/>
          </p:nvSpPr>
          <p:spPr bwMode="auto">
            <a:xfrm>
              <a:off x="-928688" y="3163723"/>
              <a:ext cx="695325" cy="277811"/>
            </a:xfrm>
            <a:prstGeom prst="rect">
              <a:avLst/>
            </a:prstGeom>
            <a:solidFill>
              <a:srgbClr val="E5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2599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229.242.242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/>
            <p:cNvSpPr/>
            <p:nvPr userDrawn="1"/>
          </p:nvSpPr>
          <p:spPr bwMode="auto">
            <a:xfrm>
              <a:off x="-928688" y="2461731"/>
              <a:ext cx="695325" cy="276225"/>
            </a:xfrm>
            <a:prstGeom prst="rect">
              <a:avLst/>
            </a:prstGeom>
            <a:solidFill>
              <a:srgbClr val="B2D2D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2599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178.210.216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8" name="Title Placeholder 67"/>
          <p:cNvSpPr>
            <a:spLocks noGrp="1"/>
          </p:cNvSpPr>
          <p:nvPr>
            <p:ph type="title"/>
          </p:nvPr>
        </p:nvSpPr>
        <p:spPr>
          <a:xfrm>
            <a:off x="495404" y="275224"/>
            <a:ext cx="8410139" cy="766144"/>
          </a:xfrm>
          <a:prstGeom prst="rect">
            <a:avLst/>
          </a:prstGeom>
          <a:noFill/>
        </p:spPr>
        <p:txBody>
          <a:bodyPr lIns="87290" tIns="43644" rIns="87290" bIns="43644"/>
          <a:lstStyle/>
          <a:p>
            <a:pPr marL="0" marR="0" lvl="0" indent="0" algn="l" defTabSz="95514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70" name="Text Placeholder 69"/>
          <p:cNvSpPr>
            <a:spLocks noGrp="1"/>
          </p:cNvSpPr>
          <p:nvPr>
            <p:ph type="body" idx="1"/>
          </p:nvPr>
        </p:nvSpPr>
        <p:spPr>
          <a:xfrm>
            <a:off x="481546" y="1388146"/>
            <a:ext cx="9001007" cy="4629150"/>
          </a:xfrm>
          <a:prstGeom prst="rect">
            <a:avLst/>
          </a:prstGeom>
        </p:spPr>
        <p:txBody>
          <a:bodyPr vert="horz" lIns="87290" tIns="43644" rIns="87290" bIns="43644" rtlCol="0">
            <a:normAutofit/>
          </a:bodyPr>
          <a:lstStyle/>
          <a:p>
            <a:pPr marL="327337" marR="0" lvl="0" indent="-327337" algn="l" defTabSz="955147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dirty="0" smtClean="0"/>
              <a:t>Click to edit Master text styles</a:t>
            </a:r>
          </a:p>
          <a:p>
            <a:pPr marL="660744" marR="0" lvl="1" indent="-331884" algn="l" defTabSz="955147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6BF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dirty="0" smtClean="0"/>
              <a:t>Second level</a:t>
            </a:r>
          </a:p>
          <a:p>
            <a:pPr marL="942614" marR="0" lvl="2" indent="-280361" algn="l" defTabSz="955147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65A5C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dirty="0" smtClean="0"/>
              <a:t>Third level</a:t>
            </a:r>
          </a:p>
          <a:p>
            <a:pPr marL="1238126" marR="0" lvl="3" indent="-236412" algn="l" defTabSz="955147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Char char="–"/>
              <a:tabLst/>
              <a:defRPr/>
            </a:pPr>
            <a:r>
              <a:rPr lang="en-US" dirty="0" smtClean="0"/>
              <a:t>Fourth level</a:t>
            </a:r>
          </a:p>
          <a:p>
            <a:pPr marL="1468476" marR="0" lvl="4" indent="-236412" algn="l" defTabSz="955147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Char char="»"/>
              <a:tabLst>
                <a:tab pos="1539702" algn="l"/>
              </a:tabLst>
              <a:defRPr/>
            </a:pPr>
            <a:r>
              <a:rPr lang="en-US" dirty="0" smtClean="0"/>
              <a:t>Fifth level</a:t>
            </a:r>
            <a:endParaRPr lang="ru-RU" dirty="0"/>
          </a:p>
        </p:txBody>
      </p:sp>
      <p:pic>
        <p:nvPicPr>
          <p:cNvPr id="78" name="Picture 3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4665" y="124391"/>
            <a:ext cx="1508257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4"/>
          <p:cNvPicPr preferRelativeResize="0">
            <a:picLocks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587" y="128547"/>
            <a:ext cx="50770" cy="1044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763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  <p:sldLayoutId id="2147483743" r:id="rId19"/>
    <p:sldLayoutId id="2147483744" r:id="rId20"/>
    <p:sldLayoutId id="2147483745" r:id="rId21"/>
    <p:sldLayoutId id="2147483746" r:id="rId22"/>
    <p:sldLayoutId id="2147483747" r:id="rId23"/>
    <p:sldLayoutId id="2147483748" r:id="rId24"/>
    <p:sldLayoutId id="2147483749" r:id="rId25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55147" rtl="0" eaLnBrk="0" fontAlgn="base" hangingPunct="0">
        <a:spcBef>
          <a:spcPct val="0"/>
        </a:spcBef>
        <a:spcAft>
          <a:spcPct val="0"/>
        </a:spcAft>
        <a:defRPr kumimoji="0" lang="ru-RU" sz="1900" b="1" i="0" u="none" strike="noStrike" kern="0" cap="none" spc="0" normalizeH="0" baseline="0" noProof="0" smtClean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  <a:lvl2pPr algn="ctr" defTabSz="955147" rtl="0" eaLnBrk="0" fontAlgn="base" hangingPunct="0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2pPr>
      <a:lvl3pPr algn="ctr" defTabSz="955147" rtl="0" eaLnBrk="0" fontAlgn="base" hangingPunct="0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3pPr>
      <a:lvl4pPr algn="ctr" defTabSz="955147" rtl="0" eaLnBrk="0" fontAlgn="base" hangingPunct="0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4pPr>
      <a:lvl5pPr algn="ctr" defTabSz="955147" rtl="0" eaLnBrk="0" fontAlgn="base" hangingPunct="0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5pPr>
      <a:lvl6pPr marL="435950" algn="ctr" defTabSz="955147" rtl="0" fontAlgn="base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6pPr>
      <a:lvl7pPr marL="871896" algn="ctr" defTabSz="955147" rtl="0" fontAlgn="base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7pPr>
      <a:lvl8pPr marL="1307844" algn="ctr" defTabSz="955147" rtl="0" fontAlgn="base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8pPr>
      <a:lvl9pPr marL="1743798" algn="ctr" defTabSz="955147" rtl="0" fontAlgn="base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9pPr>
    </p:titleStyle>
    <p:bodyStyle>
      <a:lvl1pPr marL="358752" indent="-358752" algn="l" defTabSz="955147" rtl="0" eaLnBrk="0" fontAlgn="base" hangingPunct="0">
        <a:spcBef>
          <a:spcPct val="20000"/>
        </a:spcBef>
        <a:spcAft>
          <a:spcPct val="0"/>
        </a:spcAft>
        <a:buChar char="•"/>
        <a:defRPr kumimoji="0" lang="en-US" altLang="en-US" sz="16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776531" indent="-299713" algn="l" defTabSz="955147" rtl="0" eaLnBrk="0" fontAlgn="base" hangingPunct="0">
        <a:spcBef>
          <a:spcPct val="20000"/>
        </a:spcBef>
        <a:spcAft>
          <a:spcPct val="0"/>
        </a:spcAft>
        <a:buChar char="–"/>
        <a:defRPr kumimoji="0" lang="en-US" altLang="en-US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1194316" indent="-239167" algn="l" defTabSz="955147" rtl="0" eaLnBrk="0" fontAlgn="base" hangingPunct="0">
        <a:spcBef>
          <a:spcPct val="20000"/>
        </a:spcBef>
        <a:spcAft>
          <a:spcPct val="0"/>
        </a:spcAft>
        <a:buChar char="•"/>
        <a:defRPr kumimoji="0" lang="en-US" altLang="en-US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1671136" indent="-239167" algn="l" defTabSz="955147" rtl="0" eaLnBrk="0" fontAlgn="base" hangingPunct="0">
        <a:spcBef>
          <a:spcPct val="20000"/>
        </a:spcBef>
        <a:spcAft>
          <a:spcPct val="0"/>
        </a:spcAft>
        <a:buChar char="–"/>
        <a:defRPr kumimoji="0" lang="en-US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2147959" indent="-237654" algn="l" defTabSz="955147" rtl="0" eaLnBrk="0" fontAlgn="base" hangingPunct="0">
        <a:spcBef>
          <a:spcPct val="20000"/>
        </a:spcBef>
        <a:spcAft>
          <a:spcPct val="0"/>
        </a:spcAft>
        <a:buChar char="»"/>
        <a:defRPr kumimoji="0" lang="ru-RU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83903" indent="-237654" algn="l" defTabSz="955147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019855" indent="-237654" algn="l" defTabSz="955147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455795" indent="-237654" algn="l" defTabSz="955147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3891747" indent="-237654" algn="l" defTabSz="955147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7189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35950" algn="l" defTabSz="87189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71896" algn="l" defTabSz="87189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07844" algn="l" defTabSz="87189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43798" algn="l" defTabSz="87189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179741" algn="l" defTabSz="87189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615690" algn="l" defTabSz="87189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051634" algn="l" defTabSz="87189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584" algn="l" defTabSz="87189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874377237"/>
              </p:ext>
            </p:extLst>
          </p:nvPr>
        </p:nvGraphicFramePr>
        <p:xfrm>
          <a:off x="1692" y="1595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71" name="think-cell Slide" r:id="rId29" imgW="572" imgH="572" progId="TCLayout.ActiveDocument.1">
                  <p:embed/>
                </p:oleObj>
              </mc:Choice>
              <mc:Fallback>
                <p:oleObj name="think-cell Slide" r:id="rId29" imgW="572" imgH="5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692" y="1595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591" y="6493913"/>
            <a:ext cx="946800" cy="2772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56512" y="6400988"/>
            <a:ext cx="807156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487" tIns="47747" rIns="95487" bIns="47747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500" b="1" i="1">
                <a:solidFill>
                  <a:srgbClr val="008080"/>
                </a:solidFill>
              </a:defRPr>
            </a:lvl1pPr>
          </a:lstStyle>
          <a:p>
            <a:pPr defTabSz="912599" fontAlgn="base">
              <a:spcAft>
                <a:spcPct val="0"/>
              </a:spcAft>
              <a:defRPr/>
            </a:pPr>
            <a:fld id="{62904C63-2B24-46AF-B25E-66CB8A4EF8F1}" type="slidenum">
              <a:rPr lang="ru-RU" smtClean="0"/>
              <a:pPr defTabSz="912599" fontAlgn="base">
                <a:spcAft>
                  <a:spcPct val="0"/>
                </a:spcAft>
                <a:defRPr/>
              </a:pPr>
              <a:t>‹#›</a:t>
            </a:fld>
            <a:r>
              <a:rPr lang="ru-RU" sz="1100" smtClean="0">
                <a:solidFill>
                  <a:srgbClr val="808080"/>
                </a:solidFill>
              </a:rPr>
              <a:t> </a:t>
            </a:r>
            <a:endParaRPr lang="ru-RU" sz="1100" dirty="0">
              <a:solidFill>
                <a:srgbClr val="808080"/>
              </a:solidFill>
            </a:endParaRPr>
          </a:p>
        </p:txBody>
      </p:sp>
      <p:sp>
        <p:nvSpPr>
          <p:cNvPr id="1039" name="Line 15"/>
          <p:cNvSpPr>
            <a:spLocks noChangeShapeType="1"/>
          </p:cNvSpPr>
          <p:nvPr/>
        </p:nvSpPr>
        <p:spPr bwMode="auto">
          <a:xfrm>
            <a:off x="9276644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188" tIns="43595" rIns="87188" bIns="43595" anchor="ctr"/>
          <a:lstStyle/>
          <a:p>
            <a:pPr defTabSz="912599"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grpSp>
        <p:nvGrpSpPr>
          <p:cNvPr id="77" name="Group 76"/>
          <p:cNvGrpSpPr/>
          <p:nvPr/>
        </p:nvGrpSpPr>
        <p:grpSpPr>
          <a:xfrm>
            <a:off x="-894290" y="136"/>
            <a:ext cx="669572" cy="3260401"/>
            <a:chOff x="-928688" y="0"/>
            <a:chExt cx="695325" cy="3441534"/>
          </a:xfrm>
        </p:grpSpPr>
        <p:sp>
          <p:nvSpPr>
            <p:cNvPr id="55" name="Rectangle 54"/>
            <p:cNvSpPr/>
            <p:nvPr userDrawn="1"/>
          </p:nvSpPr>
          <p:spPr bwMode="auto">
            <a:xfrm>
              <a:off x="-928688" y="0"/>
              <a:ext cx="695325" cy="276225"/>
            </a:xfrm>
            <a:prstGeom prst="rect">
              <a:avLst/>
            </a:prstGeom>
            <a:solidFill>
              <a:srgbClr val="0080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2599">
                <a:defRPr/>
              </a:pPr>
              <a:r>
                <a:rPr lang="es-ES_tradnl" sz="800" b="0" smtClean="0">
                  <a:solidFill>
                    <a:srgbClr val="FFFFFF"/>
                  </a:solidFill>
                </a:rPr>
                <a:t>0.128.128</a:t>
              </a:r>
              <a:endParaRPr lang="es-ES_tradnl" sz="800" b="0" dirty="0">
                <a:solidFill>
                  <a:srgbClr val="FFFFFF"/>
                </a:solidFill>
              </a:endParaRPr>
            </a:p>
          </p:txBody>
        </p:sp>
        <p:sp>
          <p:nvSpPr>
            <p:cNvPr id="56" name="Rectangle 55"/>
            <p:cNvSpPr/>
            <p:nvPr userDrawn="1"/>
          </p:nvSpPr>
          <p:spPr bwMode="auto">
            <a:xfrm>
              <a:off x="-928688" y="350996"/>
              <a:ext cx="695325" cy="277811"/>
            </a:xfrm>
            <a:prstGeom prst="rect">
              <a:avLst/>
            </a:prstGeom>
            <a:solidFill>
              <a:srgbClr val="99CC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2599">
                <a:defRPr/>
              </a:pPr>
              <a:r>
                <a:rPr lang="es-ES_tradnl" sz="800" b="0" smtClean="0">
                  <a:solidFill>
                    <a:srgbClr val="FFFFFF"/>
                  </a:solidFill>
                </a:rPr>
                <a:t>153.204.0</a:t>
              </a:r>
              <a:endParaRPr lang="es-ES_tradnl" sz="800" b="0" dirty="0">
                <a:solidFill>
                  <a:srgbClr val="FFFFFF"/>
                </a:solidFill>
              </a:endParaRPr>
            </a:p>
          </p:txBody>
        </p:sp>
        <p:sp>
          <p:nvSpPr>
            <p:cNvPr id="57" name="Rectangle 56"/>
            <p:cNvSpPr/>
            <p:nvPr userDrawn="1"/>
          </p:nvSpPr>
          <p:spPr bwMode="auto">
            <a:xfrm>
              <a:off x="-928688" y="703578"/>
              <a:ext cx="695325" cy="276225"/>
            </a:xfrm>
            <a:prstGeom prst="rect">
              <a:avLst/>
            </a:prstGeom>
            <a:solidFill>
              <a:srgbClr val="8080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2599">
                <a:defRPr/>
              </a:pPr>
              <a:r>
                <a:rPr lang="es-ES_tradnl" sz="800" b="0" smtClean="0">
                  <a:solidFill>
                    <a:srgbClr val="FFFFFF"/>
                  </a:solidFill>
                </a:rPr>
                <a:t>128.128.128</a:t>
              </a:r>
              <a:endParaRPr lang="es-ES_tradnl" sz="800" b="0" dirty="0">
                <a:solidFill>
                  <a:srgbClr val="FFFFFF"/>
                </a:solidFill>
              </a:endParaRPr>
            </a:p>
          </p:txBody>
        </p:sp>
        <p:sp>
          <p:nvSpPr>
            <p:cNvPr id="58" name="Rectangle 57"/>
            <p:cNvSpPr/>
            <p:nvPr userDrawn="1"/>
          </p:nvSpPr>
          <p:spPr bwMode="auto">
            <a:xfrm>
              <a:off x="-928688" y="1054574"/>
              <a:ext cx="695325" cy="277812"/>
            </a:xfrm>
            <a:prstGeom prst="rect">
              <a:avLst/>
            </a:prstGeom>
            <a:solidFill>
              <a:srgbClr val="D0D0D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2599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208. 208.208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  <p:sp>
          <p:nvSpPr>
            <p:cNvPr id="59" name="Rectangle 58"/>
            <p:cNvSpPr/>
            <p:nvPr userDrawn="1"/>
          </p:nvSpPr>
          <p:spPr bwMode="auto">
            <a:xfrm>
              <a:off x="-928688" y="1407157"/>
              <a:ext cx="695325" cy="276225"/>
            </a:xfrm>
            <a:prstGeom prst="rect">
              <a:avLst/>
            </a:prstGeom>
            <a:solidFill>
              <a:srgbClr val="F58A1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2599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245.138.31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  <p:sp>
          <p:nvSpPr>
            <p:cNvPr id="60" name="Rectangle 59"/>
            <p:cNvSpPr/>
            <p:nvPr userDrawn="1"/>
          </p:nvSpPr>
          <p:spPr bwMode="auto">
            <a:xfrm>
              <a:off x="-928688" y="2109149"/>
              <a:ext cx="695325" cy="277811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2599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192.0.0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  <p:sp>
          <p:nvSpPr>
            <p:cNvPr id="61" name="Rectangle 60"/>
            <p:cNvSpPr/>
            <p:nvPr userDrawn="1"/>
          </p:nvSpPr>
          <p:spPr bwMode="auto">
            <a:xfrm>
              <a:off x="-928688" y="2812727"/>
              <a:ext cx="695325" cy="276225"/>
            </a:xfrm>
            <a:prstGeom prst="rect">
              <a:avLst/>
            </a:prstGeom>
            <a:solidFill>
              <a:srgbClr val="F2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2599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242. 242. </a:t>
              </a:r>
              <a:r>
                <a:rPr lang="es-ES_tradnl" sz="800" b="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Rectangle 61"/>
            <p:cNvSpPr/>
            <p:nvPr userDrawn="1"/>
          </p:nvSpPr>
          <p:spPr bwMode="auto">
            <a:xfrm>
              <a:off x="-928688" y="1758153"/>
              <a:ext cx="695325" cy="276225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2599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255.192.0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  <p:sp>
          <p:nvSpPr>
            <p:cNvPr id="63" name="Rectangle 62"/>
            <p:cNvSpPr/>
            <p:nvPr userDrawn="1"/>
          </p:nvSpPr>
          <p:spPr bwMode="auto">
            <a:xfrm>
              <a:off x="-928688" y="3163723"/>
              <a:ext cx="695325" cy="277811"/>
            </a:xfrm>
            <a:prstGeom prst="rect">
              <a:avLst/>
            </a:prstGeom>
            <a:solidFill>
              <a:srgbClr val="E5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2599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229.242.242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/>
            <p:cNvSpPr/>
            <p:nvPr userDrawn="1"/>
          </p:nvSpPr>
          <p:spPr bwMode="auto">
            <a:xfrm>
              <a:off x="-928688" y="2461731"/>
              <a:ext cx="695325" cy="276225"/>
            </a:xfrm>
            <a:prstGeom prst="rect">
              <a:avLst/>
            </a:prstGeom>
            <a:solidFill>
              <a:srgbClr val="B2D2D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912599">
                <a:defRPr/>
              </a:pPr>
              <a:r>
                <a:rPr lang="es-ES_tradnl" sz="800" b="0" smtClean="0">
                  <a:solidFill>
                    <a:srgbClr val="000000"/>
                  </a:solidFill>
                </a:rPr>
                <a:t>178.210.216</a:t>
              </a:r>
              <a:endParaRPr lang="es-ES_tradnl" sz="800" b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8" name="Title Placeholder 67"/>
          <p:cNvSpPr>
            <a:spLocks noGrp="1"/>
          </p:cNvSpPr>
          <p:nvPr>
            <p:ph type="title"/>
          </p:nvPr>
        </p:nvSpPr>
        <p:spPr>
          <a:xfrm>
            <a:off x="495403" y="275224"/>
            <a:ext cx="8410139" cy="766144"/>
          </a:xfrm>
          <a:prstGeom prst="rect">
            <a:avLst/>
          </a:prstGeom>
          <a:noFill/>
        </p:spPr>
        <p:txBody>
          <a:bodyPr lIns="87290" tIns="43644" rIns="87290" bIns="43644"/>
          <a:lstStyle/>
          <a:p>
            <a:pPr marL="0" marR="0" lvl="0" indent="0" algn="l" defTabSz="95514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70" name="Text Placeholder 69"/>
          <p:cNvSpPr>
            <a:spLocks noGrp="1"/>
          </p:cNvSpPr>
          <p:nvPr>
            <p:ph type="body" idx="1"/>
          </p:nvPr>
        </p:nvSpPr>
        <p:spPr>
          <a:xfrm>
            <a:off x="481546" y="1388146"/>
            <a:ext cx="9001007" cy="4629150"/>
          </a:xfrm>
          <a:prstGeom prst="rect">
            <a:avLst/>
          </a:prstGeom>
        </p:spPr>
        <p:txBody>
          <a:bodyPr vert="horz" lIns="87290" tIns="43644" rIns="87290" bIns="43644" rtlCol="0">
            <a:normAutofit/>
          </a:bodyPr>
          <a:lstStyle/>
          <a:p>
            <a:pPr marL="327337" marR="0" lvl="0" indent="-327337" algn="l" defTabSz="955147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dirty="0" smtClean="0"/>
              <a:t>Click to edit Master text styles</a:t>
            </a:r>
          </a:p>
          <a:p>
            <a:pPr marL="660744" marR="0" lvl="1" indent="-331884" algn="l" defTabSz="955147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6BF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dirty="0" smtClean="0"/>
              <a:t>Second level</a:t>
            </a:r>
          </a:p>
          <a:p>
            <a:pPr marL="942614" marR="0" lvl="2" indent="-280361" algn="l" defTabSz="955147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65A5C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dirty="0" smtClean="0"/>
              <a:t>Third level</a:t>
            </a:r>
          </a:p>
          <a:p>
            <a:pPr marL="1238126" marR="0" lvl="3" indent="-236412" algn="l" defTabSz="955147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Char char="–"/>
              <a:tabLst/>
              <a:defRPr/>
            </a:pPr>
            <a:r>
              <a:rPr lang="en-US" dirty="0" smtClean="0"/>
              <a:t>Fourth level</a:t>
            </a:r>
          </a:p>
          <a:p>
            <a:pPr marL="1468476" marR="0" lvl="4" indent="-236412" algn="l" defTabSz="955147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Char char="»"/>
              <a:tabLst>
                <a:tab pos="1539702" algn="l"/>
              </a:tabLst>
              <a:defRPr/>
            </a:pPr>
            <a:r>
              <a:rPr lang="en-US" dirty="0" smtClean="0"/>
              <a:t>Fifth level</a:t>
            </a:r>
            <a:endParaRPr lang="ru-RU" dirty="0"/>
          </a:p>
        </p:txBody>
      </p:sp>
      <p:pic>
        <p:nvPicPr>
          <p:cNvPr id="78" name="Picture 3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4664" y="124391"/>
            <a:ext cx="1508257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4"/>
          <p:cNvPicPr preferRelativeResize="0">
            <a:picLocks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587" y="128547"/>
            <a:ext cx="50770" cy="1044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1877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  <p:sldLayoutId id="2147483765" r:id="rId15"/>
    <p:sldLayoutId id="2147483766" r:id="rId16"/>
    <p:sldLayoutId id="2147483767" r:id="rId17"/>
    <p:sldLayoutId id="2147483768" r:id="rId18"/>
    <p:sldLayoutId id="2147483769" r:id="rId19"/>
    <p:sldLayoutId id="2147483770" r:id="rId20"/>
    <p:sldLayoutId id="2147483771" r:id="rId21"/>
    <p:sldLayoutId id="2147483772" r:id="rId22"/>
    <p:sldLayoutId id="2147483773" r:id="rId23"/>
    <p:sldLayoutId id="2147483774" r:id="rId24"/>
    <p:sldLayoutId id="2147483775" r:id="rId25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55147" rtl="0" eaLnBrk="0" fontAlgn="base" hangingPunct="0">
        <a:spcBef>
          <a:spcPct val="0"/>
        </a:spcBef>
        <a:spcAft>
          <a:spcPct val="0"/>
        </a:spcAft>
        <a:defRPr kumimoji="0" lang="ru-RU" sz="1900" b="1" i="0" u="none" strike="noStrike" kern="0" cap="none" spc="0" normalizeH="0" baseline="0" noProof="0" smtClean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  <a:lvl2pPr algn="ctr" defTabSz="955147" rtl="0" eaLnBrk="0" fontAlgn="base" hangingPunct="0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2pPr>
      <a:lvl3pPr algn="ctr" defTabSz="955147" rtl="0" eaLnBrk="0" fontAlgn="base" hangingPunct="0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3pPr>
      <a:lvl4pPr algn="ctr" defTabSz="955147" rtl="0" eaLnBrk="0" fontAlgn="base" hangingPunct="0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4pPr>
      <a:lvl5pPr algn="ctr" defTabSz="955147" rtl="0" eaLnBrk="0" fontAlgn="base" hangingPunct="0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5pPr>
      <a:lvl6pPr marL="435950" algn="ctr" defTabSz="955147" rtl="0" fontAlgn="base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6pPr>
      <a:lvl7pPr marL="871896" algn="ctr" defTabSz="955147" rtl="0" fontAlgn="base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7pPr>
      <a:lvl8pPr marL="1307844" algn="ctr" defTabSz="955147" rtl="0" fontAlgn="base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8pPr>
      <a:lvl9pPr marL="1743798" algn="ctr" defTabSz="955147" rtl="0" fontAlgn="base">
        <a:spcBef>
          <a:spcPct val="0"/>
        </a:spcBef>
        <a:spcAft>
          <a:spcPct val="0"/>
        </a:spcAft>
        <a:defRPr sz="4600">
          <a:solidFill>
            <a:schemeClr val="tx2"/>
          </a:solidFill>
          <a:latin typeface="Arial" pitchFamily="34" charset="0"/>
        </a:defRPr>
      </a:lvl9pPr>
    </p:titleStyle>
    <p:bodyStyle>
      <a:lvl1pPr marL="358752" indent="-358752" algn="l" defTabSz="955147" rtl="0" eaLnBrk="0" fontAlgn="base" hangingPunct="0">
        <a:spcBef>
          <a:spcPct val="20000"/>
        </a:spcBef>
        <a:spcAft>
          <a:spcPct val="0"/>
        </a:spcAft>
        <a:buChar char="•"/>
        <a:defRPr kumimoji="0" lang="en-US" altLang="en-US" sz="16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776531" indent="-299713" algn="l" defTabSz="955147" rtl="0" eaLnBrk="0" fontAlgn="base" hangingPunct="0">
        <a:spcBef>
          <a:spcPct val="20000"/>
        </a:spcBef>
        <a:spcAft>
          <a:spcPct val="0"/>
        </a:spcAft>
        <a:buChar char="–"/>
        <a:defRPr kumimoji="0" lang="en-US" altLang="en-US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1194316" indent="-239167" algn="l" defTabSz="955147" rtl="0" eaLnBrk="0" fontAlgn="base" hangingPunct="0">
        <a:spcBef>
          <a:spcPct val="20000"/>
        </a:spcBef>
        <a:spcAft>
          <a:spcPct val="0"/>
        </a:spcAft>
        <a:buChar char="•"/>
        <a:defRPr kumimoji="0" lang="en-US" altLang="en-US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1671136" indent="-239167" algn="l" defTabSz="955147" rtl="0" eaLnBrk="0" fontAlgn="base" hangingPunct="0">
        <a:spcBef>
          <a:spcPct val="20000"/>
        </a:spcBef>
        <a:spcAft>
          <a:spcPct val="0"/>
        </a:spcAft>
        <a:buChar char="–"/>
        <a:defRPr kumimoji="0" lang="en-US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2147959" indent="-237654" algn="l" defTabSz="955147" rtl="0" eaLnBrk="0" fontAlgn="base" hangingPunct="0">
        <a:spcBef>
          <a:spcPct val="20000"/>
        </a:spcBef>
        <a:spcAft>
          <a:spcPct val="0"/>
        </a:spcAft>
        <a:buChar char="»"/>
        <a:defRPr kumimoji="0" lang="ru-RU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583903" indent="-237654" algn="l" defTabSz="955147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019855" indent="-237654" algn="l" defTabSz="955147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455795" indent="-237654" algn="l" defTabSz="955147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3891747" indent="-237654" algn="l" defTabSz="955147" rtl="0" fontAlgn="base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7189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35950" algn="l" defTabSz="87189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71896" algn="l" defTabSz="87189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07844" algn="l" defTabSz="87189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43798" algn="l" defTabSz="87189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179741" algn="l" defTabSz="87189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615690" algn="l" defTabSz="87189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051634" algn="l" defTabSz="87189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584" algn="l" defTabSz="87189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095664113"/>
              </p:ext>
            </p:extLst>
          </p:nvPr>
        </p:nvGraphicFramePr>
        <p:xfrm>
          <a:off x="1782" y="1654"/>
          <a:ext cx="171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23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782" y="1654"/>
                        <a:ext cx="171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3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60" r="24255" b="3615"/>
          <a:stretch>
            <a:fillRect/>
          </a:stretch>
        </p:blipFill>
        <p:spPr bwMode="auto">
          <a:xfrm>
            <a:off x="8397804" y="295377"/>
            <a:ext cx="1508257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95361" y="185739"/>
            <a:ext cx="7702947" cy="627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6" tIns="45714" rIns="91426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397004"/>
            <a:ext cx="8915400" cy="47339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6" tIns="45714" rIns="91426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текста</a:t>
            </a:r>
          </a:p>
          <a:p>
            <a:pPr lvl="1"/>
            <a:r>
              <a:rPr lang="ru-RU" altLang="en-US" smtClean="0"/>
              <a:t>Второй уровень</a:t>
            </a:r>
          </a:p>
          <a:p>
            <a:pPr lvl="2"/>
            <a:r>
              <a:rPr lang="ru-RU" altLang="en-US" smtClean="0"/>
              <a:t>Третий уровень</a:t>
            </a:r>
          </a:p>
          <a:p>
            <a:pPr lvl="3"/>
            <a:r>
              <a:rPr lang="ru-RU" altLang="en-US" smtClean="0"/>
              <a:t>Четвертый уровень</a:t>
            </a:r>
          </a:p>
          <a:p>
            <a:pPr lvl="4"/>
            <a:r>
              <a:rPr lang="ru-RU" altLang="en-US" smtClean="0"/>
              <a:t>Пятый уровень</a:t>
            </a:r>
          </a:p>
        </p:txBody>
      </p:sp>
      <p:pic>
        <p:nvPicPr>
          <p:cNvPr id="1032" name="Picture 4"/>
          <p:cNvPicPr preferRelativeResize="0">
            <a:picLocks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624" y="189013"/>
            <a:ext cx="46435" cy="92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220" y="6400911"/>
            <a:ext cx="874419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5662" tIns="47831" rIns="95662" bIns="4783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 i="1">
                <a:solidFill>
                  <a:srgbClr val="008080"/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1" name="Line 15"/>
          <p:cNvSpPr>
            <a:spLocks noChangeShapeType="1"/>
          </p:cNvSpPr>
          <p:nvPr/>
        </p:nvSpPr>
        <p:spPr bwMode="auto">
          <a:xfrm>
            <a:off x="9013022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87346" tIns="43675" rIns="87346" bIns="43675" anchor="ctr"/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12" name="Picture 2" descr="C:\Documents and Settings\BelovaDV\Мои документы\Мои рисунки\лого_SIBUR_new_EN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69" y="6491436"/>
            <a:ext cx="102375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1769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5pPr>
      <a:lvl6pPr marL="45713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4262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139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8520" algn="l" rtl="0" fontAlgn="base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342848" indent="-34284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692045" indent="-347611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987274" indent="-29364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3pPr>
      <a:lvl4pPr marL="1280918" indent="-29205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4pPr>
      <a:lvl5pPr marL="1598369" indent="-315864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5pPr>
      <a:lvl6pPr marL="2055499" indent="-315864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512629" indent="-315864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2969760" indent="-315864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426889" indent="-315864" algn="l" rtl="0" fontAlgn="base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0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2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0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0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2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1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11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42" algn="l" defTabSz="9142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78712" y="6400851"/>
            <a:ext cx="807156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07944" tIns="53971" rIns="107944" bIns="53971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500" b="1" i="1">
                <a:solidFill>
                  <a:srgbClr val="008080"/>
                </a:solidFill>
              </a:defRPr>
            </a:lvl1pPr>
          </a:lstStyle>
          <a:p>
            <a:pPr defTabSz="1031626" fontAlgn="base">
              <a:spcAft>
                <a:spcPct val="0"/>
              </a:spcAft>
              <a:defRPr/>
            </a:pPr>
            <a:fld id="{62904C63-2B24-46AF-B25E-66CB8A4EF8F1}" type="slidenum">
              <a:rPr lang="ru-RU"/>
              <a:pPr defTabSz="1031626" fontAlgn="base">
                <a:spcAft>
                  <a:spcPct val="0"/>
                </a:spcAft>
                <a:defRPr/>
              </a:pPr>
              <a:t>‹#›</a:t>
            </a:fld>
            <a:r>
              <a:rPr lang="ru-RU" sz="1200" dirty="0">
                <a:solidFill>
                  <a:srgbClr val="808080"/>
                </a:solidFill>
              </a:rPr>
              <a:t> </a:t>
            </a:r>
          </a:p>
        </p:txBody>
      </p:sp>
      <p:sp>
        <p:nvSpPr>
          <p:cNvPr id="1039" name="Line 15"/>
          <p:cNvSpPr>
            <a:spLocks noChangeShapeType="1"/>
          </p:cNvSpPr>
          <p:nvPr/>
        </p:nvSpPr>
        <p:spPr bwMode="auto">
          <a:xfrm>
            <a:off x="9098844" y="6424863"/>
            <a:ext cx="0" cy="288758"/>
          </a:xfrm>
          <a:prstGeom prst="line">
            <a:avLst/>
          </a:prstGeom>
          <a:noFill/>
          <a:ln w="38100">
            <a:solidFill>
              <a:srgbClr val="008080"/>
            </a:solidFill>
            <a:round/>
            <a:headEnd/>
            <a:tailEnd/>
          </a:ln>
          <a:effectLst/>
          <a:extLst/>
        </p:spPr>
        <p:txBody>
          <a:bodyPr lIns="98560" tIns="49282" rIns="98560" bIns="49282" anchor="ctr"/>
          <a:lstStyle/>
          <a:p>
            <a:pPr defTabSz="1031626" eaLnBrk="0" fontAlgn="base" hangingPunct="0">
              <a:spcBef>
                <a:spcPct val="10000"/>
              </a:spcBef>
              <a:spcAft>
                <a:spcPct val="0"/>
              </a:spcAft>
              <a:defRPr/>
            </a:pPr>
            <a:endParaRPr lang="ru-RU" sz="2000">
              <a:solidFill>
                <a:srgbClr val="000000"/>
              </a:solidFill>
            </a:endParaRPr>
          </a:p>
        </p:txBody>
      </p:sp>
      <p:grpSp>
        <p:nvGrpSpPr>
          <p:cNvPr id="77" name="Group 76"/>
          <p:cNvGrpSpPr/>
          <p:nvPr/>
        </p:nvGrpSpPr>
        <p:grpSpPr>
          <a:xfrm>
            <a:off x="-894292" y="39"/>
            <a:ext cx="669572" cy="3260401"/>
            <a:chOff x="-928688" y="0"/>
            <a:chExt cx="695325" cy="3441534"/>
          </a:xfrm>
        </p:grpSpPr>
        <p:sp>
          <p:nvSpPr>
            <p:cNvPr id="55" name="Rectangle 54"/>
            <p:cNvSpPr/>
            <p:nvPr userDrawn="1"/>
          </p:nvSpPr>
          <p:spPr bwMode="auto">
            <a:xfrm>
              <a:off x="-928688" y="0"/>
              <a:ext cx="695325" cy="276225"/>
            </a:xfrm>
            <a:prstGeom prst="rect">
              <a:avLst/>
            </a:prstGeom>
            <a:solidFill>
              <a:srgbClr val="0080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626">
                <a:defRPr/>
              </a:pPr>
              <a:r>
                <a:rPr lang="es-ES_tradnl" sz="900" b="0" smtClean="0">
                  <a:solidFill>
                    <a:srgbClr val="FFFFFF"/>
                  </a:solidFill>
                </a:rPr>
                <a:t>0.128.128</a:t>
              </a:r>
              <a:endParaRPr lang="es-ES_tradnl" sz="900" b="0" dirty="0">
                <a:solidFill>
                  <a:srgbClr val="FFFFFF"/>
                </a:solidFill>
              </a:endParaRPr>
            </a:p>
          </p:txBody>
        </p:sp>
        <p:sp>
          <p:nvSpPr>
            <p:cNvPr id="56" name="Rectangle 55"/>
            <p:cNvSpPr/>
            <p:nvPr userDrawn="1"/>
          </p:nvSpPr>
          <p:spPr bwMode="auto">
            <a:xfrm>
              <a:off x="-928688" y="350996"/>
              <a:ext cx="695325" cy="277811"/>
            </a:xfrm>
            <a:prstGeom prst="rect">
              <a:avLst/>
            </a:prstGeom>
            <a:solidFill>
              <a:srgbClr val="99CC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626">
                <a:defRPr/>
              </a:pPr>
              <a:r>
                <a:rPr lang="es-ES_tradnl" sz="900" b="0" smtClean="0">
                  <a:solidFill>
                    <a:srgbClr val="FFFFFF"/>
                  </a:solidFill>
                </a:rPr>
                <a:t>153.204.0</a:t>
              </a:r>
              <a:endParaRPr lang="es-ES_tradnl" sz="900" b="0" dirty="0">
                <a:solidFill>
                  <a:srgbClr val="FFFFFF"/>
                </a:solidFill>
              </a:endParaRPr>
            </a:p>
          </p:txBody>
        </p:sp>
        <p:sp>
          <p:nvSpPr>
            <p:cNvPr id="57" name="Rectangle 56"/>
            <p:cNvSpPr/>
            <p:nvPr userDrawn="1"/>
          </p:nvSpPr>
          <p:spPr bwMode="auto">
            <a:xfrm>
              <a:off x="-928688" y="703578"/>
              <a:ext cx="695325" cy="276225"/>
            </a:xfrm>
            <a:prstGeom prst="rect">
              <a:avLst/>
            </a:prstGeom>
            <a:solidFill>
              <a:srgbClr val="80808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626">
                <a:defRPr/>
              </a:pPr>
              <a:r>
                <a:rPr lang="es-ES_tradnl" sz="900" b="0" smtClean="0">
                  <a:solidFill>
                    <a:srgbClr val="FFFFFF"/>
                  </a:solidFill>
                </a:rPr>
                <a:t>128.128.128</a:t>
              </a:r>
              <a:endParaRPr lang="es-ES_tradnl" sz="900" b="0" dirty="0">
                <a:solidFill>
                  <a:srgbClr val="FFFFFF"/>
                </a:solidFill>
              </a:endParaRPr>
            </a:p>
          </p:txBody>
        </p:sp>
        <p:sp>
          <p:nvSpPr>
            <p:cNvPr id="58" name="Rectangle 57"/>
            <p:cNvSpPr/>
            <p:nvPr userDrawn="1"/>
          </p:nvSpPr>
          <p:spPr bwMode="auto">
            <a:xfrm>
              <a:off x="-928688" y="1054574"/>
              <a:ext cx="695325" cy="277812"/>
            </a:xfrm>
            <a:prstGeom prst="rect">
              <a:avLst/>
            </a:prstGeom>
            <a:solidFill>
              <a:srgbClr val="D0D0D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626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08. 208.208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59" name="Rectangle 58"/>
            <p:cNvSpPr/>
            <p:nvPr userDrawn="1"/>
          </p:nvSpPr>
          <p:spPr bwMode="auto">
            <a:xfrm>
              <a:off x="-928688" y="1407157"/>
              <a:ext cx="695325" cy="276225"/>
            </a:xfrm>
            <a:prstGeom prst="rect">
              <a:avLst/>
            </a:prstGeom>
            <a:solidFill>
              <a:srgbClr val="F58A1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626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45.138.31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60" name="Rectangle 59"/>
            <p:cNvSpPr/>
            <p:nvPr userDrawn="1"/>
          </p:nvSpPr>
          <p:spPr bwMode="auto">
            <a:xfrm>
              <a:off x="-928688" y="2109149"/>
              <a:ext cx="695325" cy="277811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626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192.0.0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61" name="Rectangle 60"/>
            <p:cNvSpPr/>
            <p:nvPr userDrawn="1"/>
          </p:nvSpPr>
          <p:spPr bwMode="auto">
            <a:xfrm>
              <a:off x="-928688" y="2812727"/>
              <a:ext cx="695325" cy="276225"/>
            </a:xfrm>
            <a:prstGeom prst="rect">
              <a:avLst/>
            </a:prstGeom>
            <a:solidFill>
              <a:srgbClr val="F2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626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42. 242. </a:t>
              </a:r>
              <a:r>
                <a:rPr lang="es-ES_tradnl" sz="900" b="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Rectangle 61"/>
            <p:cNvSpPr/>
            <p:nvPr userDrawn="1"/>
          </p:nvSpPr>
          <p:spPr bwMode="auto">
            <a:xfrm>
              <a:off x="-928688" y="1758153"/>
              <a:ext cx="695325" cy="276225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626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55.192.0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63" name="Rectangle 62"/>
            <p:cNvSpPr/>
            <p:nvPr userDrawn="1"/>
          </p:nvSpPr>
          <p:spPr bwMode="auto">
            <a:xfrm>
              <a:off x="-928688" y="3163723"/>
              <a:ext cx="695325" cy="277811"/>
            </a:xfrm>
            <a:prstGeom prst="rect">
              <a:avLst/>
            </a:prstGeom>
            <a:solidFill>
              <a:srgbClr val="E5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626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229.242.242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/>
            <p:cNvSpPr/>
            <p:nvPr userDrawn="1"/>
          </p:nvSpPr>
          <p:spPr bwMode="auto">
            <a:xfrm>
              <a:off x="-928688" y="2461731"/>
              <a:ext cx="695325" cy="276225"/>
            </a:xfrm>
            <a:prstGeom prst="rect">
              <a:avLst/>
            </a:prstGeom>
            <a:solidFill>
              <a:srgbClr val="B2D2D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" rIns="18288" bIns="9144" anchor="b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1031626">
                <a:defRPr/>
              </a:pPr>
              <a:r>
                <a:rPr lang="es-ES_tradnl" sz="900" b="0" smtClean="0">
                  <a:solidFill>
                    <a:srgbClr val="000000"/>
                  </a:solidFill>
                </a:rPr>
                <a:t>178.210.216</a:t>
              </a:r>
              <a:endParaRPr lang="es-ES_tradnl" sz="900" b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8" name="Title Placeholder 67"/>
          <p:cNvSpPr>
            <a:spLocks noGrp="1"/>
          </p:cNvSpPr>
          <p:nvPr>
            <p:ph type="title"/>
          </p:nvPr>
        </p:nvSpPr>
        <p:spPr>
          <a:xfrm>
            <a:off x="495324" y="275225"/>
            <a:ext cx="8410139" cy="766144"/>
          </a:xfrm>
          <a:prstGeom prst="rect">
            <a:avLst/>
          </a:prstGeom>
          <a:noFill/>
        </p:spPr>
        <p:txBody>
          <a:bodyPr lIns="98675" tIns="49337" rIns="98675" bIns="49337"/>
          <a:lstStyle/>
          <a:p>
            <a:pPr marL="0" marR="0" lvl="0" indent="0" algn="l" defTabSz="10797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70" name="Text Placeholder 69"/>
          <p:cNvSpPr>
            <a:spLocks noGrp="1"/>
          </p:cNvSpPr>
          <p:nvPr>
            <p:ph type="body" idx="1"/>
          </p:nvPr>
        </p:nvSpPr>
        <p:spPr>
          <a:xfrm>
            <a:off x="481545" y="1388145"/>
            <a:ext cx="9001007" cy="4629150"/>
          </a:xfrm>
          <a:prstGeom prst="rect">
            <a:avLst/>
          </a:prstGeom>
        </p:spPr>
        <p:txBody>
          <a:bodyPr vert="horz" lIns="98675" tIns="49337" rIns="98675" bIns="49337" rtlCol="0">
            <a:normAutofit/>
          </a:bodyPr>
          <a:lstStyle/>
          <a:p>
            <a:pPr marL="370032" marR="0" lvl="0" indent="-370032" algn="l" defTabSz="107972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8B95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dirty="0" smtClean="0"/>
              <a:t>Click to edit Master text styles</a:t>
            </a:r>
          </a:p>
          <a:p>
            <a:pPr marL="746915" marR="0" lvl="1" indent="-375172" algn="l" defTabSz="107972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6BF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dirty="0" smtClean="0"/>
              <a:t>Second level</a:t>
            </a:r>
          </a:p>
          <a:p>
            <a:pPr marL="1065553" marR="0" lvl="2" indent="-316926" algn="l" defTabSz="107972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65A5C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en-US" dirty="0" smtClean="0"/>
              <a:t>Third level</a:t>
            </a:r>
          </a:p>
          <a:p>
            <a:pPr marL="1399610" marR="0" lvl="3" indent="-267245" algn="l" defTabSz="107972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Char char="–"/>
              <a:tabLst/>
              <a:defRPr/>
            </a:pPr>
            <a:r>
              <a:rPr lang="en-US" dirty="0" smtClean="0"/>
              <a:t>Fourth level</a:t>
            </a:r>
          </a:p>
          <a:p>
            <a:pPr marL="1660002" marR="0" lvl="4" indent="-267245" algn="l" defTabSz="107972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Char char="»"/>
              <a:tabLst>
                <a:tab pos="1740518" algn="l"/>
              </a:tabLst>
              <a:defRPr/>
            </a:pPr>
            <a:r>
              <a:rPr lang="en-US" dirty="0" smtClean="0"/>
              <a:t>Fifth level</a:t>
            </a:r>
            <a:endParaRPr lang="ru-RU" dirty="0"/>
          </a:p>
        </p:txBody>
      </p:sp>
      <p:pic>
        <p:nvPicPr>
          <p:cNvPr id="78" name="Picture 3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4606" y="390114"/>
            <a:ext cx="1508257" cy="53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4"/>
          <p:cNvPicPr preferRelativeResize="0">
            <a:picLocks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603" y="196398"/>
            <a:ext cx="46435" cy="92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580" y="6368424"/>
            <a:ext cx="1371600" cy="401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65787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</p:sldLayoutIdLst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ctr" defTabSz="1079725" rtl="0" eaLnBrk="0" fontAlgn="base" hangingPunct="0">
        <a:spcBef>
          <a:spcPct val="0"/>
        </a:spcBef>
        <a:spcAft>
          <a:spcPct val="0"/>
        </a:spcAft>
        <a:defRPr kumimoji="0" lang="ru-RU" sz="2100" b="1" i="0" u="none" strike="noStrike" kern="0" cap="none" spc="0" normalizeH="0" baseline="0" noProof="0" smtClean="0">
          <a:ln>
            <a:noFill/>
          </a:ln>
          <a:solidFill>
            <a:schemeClr val="accent1"/>
          </a:solidFill>
          <a:effectLst/>
          <a:uLnTx/>
          <a:uFillTx/>
          <a:latin typeface="+mj-lt"/>
          <a:ea typeface="+mj-ea"/>
          <a:cs typeface="+mj-cs"/>
        </a:defRPr>
      </a:lvl1pPr>
      <a:lvl2pPr algn="ctr" defTabSz="1079725" rtl="0" eaLnBrk="0" fontAlgn="base" hangingPunct="0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2pPr>
      <a:lvl3pPr algn="ctr" defTabSz="1079725" rtl="0" eaLnBrk="0" fontAlgn="base" hangingPunct="0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3pPr>
      <a:lvl4pPr algn="ctr" defTabSz="1079725" rtl="0" eaLnBrk="0" fontAlgn="base" hangingPunct="0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4pPr>
      <a:lvl5pPr algn="ctr" defTabSz="1079725" rtl="0" eaLnBrk="0" fontAlgn="base" hangingPunct="0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5pPr>
      <a:lvl6pPr marL="492808" algn="ctr" defTabSz="1079725" rtl="0" fontAlgn="base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6pPr>
      <a:lvl7pPr marL="985611" algn="ctr" defTabSz="1079725" rtl="0" fontAlgn="base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7pPr>
      <a:lvl8pPr marL="1478419" algn="ctr" defTabSz="1079725" rtl="0" fontAlgn="base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8pPr>
      <a:lvl9pPr marL="1971228" algn="ctr" defTabSz="1079725" rtl="0" fontAlgn="base">
        <a:spcBef>
          <a:spcPct val="0"/>
        </a:spcBef>
        <a:spcAft>
          <a:spcPct val="0"/>
        </a:spcAft>
        <a:defRPr sz="5200">
          <a:solidFill>
            <a:schemeClr val="tx2"/>
          </a:solidFill>
          <a:latin typeface="Arial" pitchFamily="34" charset="0"/>
        </a:defRPr>
      </a:lvl9pPr>
    </p:titleStyle>
    <p:bodyStyle>
      <a:lvl1pPr marL="405538" indent="-405538" algn="l" defTabSz="1079725" rtl="0" eaLnBrk="0" fontAlgn="base" hangingPunct="0">
        <a:spcBef>
          <a:spcPct val="20000"/>
        </a:spcBef>
        <a:spcAft>
          <a:spcPct val="0"/>
        </a:spcAft>
        <a:buChar char="•"/>
        <a:defRPr kumimoji="0" lang="en-US" altLang="en-US" sz="19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877811" indent="-338805" algn="l" defTabSz="1079725" rtl="0" eaLnBrk="0" fontAlgn="base" hangingPunct="0">
        <a:spcBef>
          <a:spcPct val="20000"/>
        </a:spcBef>
        <a:spcAft>
          <a:spcPct val="0"/>
        </a:spcAft>
        <a:buChar char="–"/>
        <a:defRPr kumimoji="0" lang="en-US" altLang="en-US" sz="17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1350086" indent="-270357" algn="l" defTabSz="1079725" rtl="0" eaLnBrk="0" fontAlgn="base" hangingPunct="0">
        <a:spcBef>
          <a:spcPct val="20000"/>
        </a:spcBef>
        <a:spcAft>
          <a:spcPct val="0"/>
        </a:spcAft>
        <a:buChar char="•"/>
        <a:defRPr kumimoji="0" lang="en-US" altLang="en-US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1889091" indent="-270357" algn="l" defTabSz="1079725" rtl="0" eaLnBrk="0" fontAlgn="base" hangingPunct="0">
        <a:spcBef>
          <a:spcPct val="20000"/>
        </a:spcBef>
        <a:spcAft>
          <a:spcPct val="0"/>
        </a:spcAft>
        <a:buChar char="–"/>
        <a:defRPr kumimoji="0" lang="en-US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2428102" indent="-268648" algn="l" defTabSz="1079725" rtl="0" eaLnBrk="0" fontAlgn="base" hangingPunct="0">
        <a:spcBef>
          <a:spcPct val="20000"/>
        </a:spcBef>
        <a:spcAft>
          <a:spcPct val="0"/>
        </a:spcAft>
        <a:buChar char="»"/>
        <a:defRPr kumimoji="0" lang="ru-RU" sz="1500" b="0" i="0" u="none" strike="noStrike" kern="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2920905" indent="-268648" algn="l" defTabSz="1079725" rtl="0" fontAlgn="base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6pPr>
      <a:lvl7pPr marL="3413713" indent="-268648" algn="l" defTabSz="1079725" rtl="0" fontAlgn="base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7pPr>
      <a:lvl8pPr marL="3906510" indent="-268648" algn="l" defTabSz="1079725" rtl="0" fontAlgn="base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8pPr>
      <a:lvl9pPr marL="4399323" indent="-268648" algn="l" defTabSz="1079725" rtl="0" fontAlgn="base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856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2808" algn="l" defTabSz="9856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5611" algn="l" defTabSz="9856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8419" algn="l" defTabSz="9856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71228" algn="l" defTabSz="9856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64033" algn="l" defTabSz="9856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56837" algn="l" defTabSz="9856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49642" algn="l" defTabSz="9856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42450" algn="l" defTabSz="98561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92.xml"/><Relationship Id="rId7" Type="http://schemas.openxmlformats.org/officeDocument/2006/relationships/image" Target="../media/image14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33.bin"/><Relationship Id="rId10" Type="http://schemas.microsoft.com/office/2007/relationships/hdphoto" Target="../media/hdphoto2.wdp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vmlDrawing" Target="../drawings/vmlDrawing41.vml"/><Relationship Id="rId1" Type="http://schemas.openxmlformats.org/officeDocument/2006/relationships/themeOverride" Target="../theme/themeOverride18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47.bin"/><Relationship Id="rId4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13" Type="http://schemas.openxmlformats.org/officeDocument/2006/relationships/chart" Target="../charts/chart7.xml"/><Relationship Id="rId3" Type="http://schemas.openxmlformats.org/officeDocument/2006/relationships/tags" Target="../tags/tag37.xml"/><Relationship Id="rId7" Type="http://schemas.openxmlformats.org/officeDocument/2006/relationships/chart" Target="../charts/chart1.xml"/><Relationship Id="rId12" Type="http://schemas.openxmlformats.org/officeDocument/2006/relationships/chart" Target="../charts/chart6.xml"/><Relationship Id="rId17" Type="http://schemas.openxmlformats.org/officeDocument/2006/relationships/image" Target="../media/image16.png"/><Relationship Id="rId2" Type="http://schemas.openxmlformats.org/officeDocument/2006/relationships/tags" Target="../tags/tag36.xml"/><Relationship Id="rId16" Type="http://schemas.openxmlformats.org/officeDocument/2006/relationships/chart" Target="../charts/chart10.xml"/><Relationship Id="rId1" Type="http://schemas.openxmlformats.org/officeDocument/2006/relationships/tags" Target="../tags/tag35.xml"/><Relationship Id="rId6" Type="http://schemas.openxmlformats.org/officeDocument/2006/relationships/slideLayout" Target="../slideLayouts/slideLayout80.xml"/><Relationship Id="rId11" Type="http://schemas.openxmlformats.org/officeDocument/2006/relationships/chart" Target="../charts/chart5.xml"/><Relationship Id="rId5" Type="http://schemas.openxmlformats.org/officeDocument/2006/relationships/tags" Target="../tags/tag39.xml"/><Relationship Id="rId15" Type="http://schemas.openxmlformats.org/officeDocument/2006/relationships/chart" Target="../charts/chart9.xml"/><Relationship Id="rId10" Type="http://schemas.openxmlformats.org/officeDocument/2006/relationships/chart" Target="../charts/chart4.xml"/><Relationship Id="rId4" Type="http://schemas.openxmlformats.org/officeDocument/2006/relationships/tags" Target="../tags/tag38.xml"/><Relationship Id="rId9" Type="http://schemas.openxmlformats.org/officeDocument/2006/relationships/chart" Target="../charts/chart3.xml"/><Relationship Id="rId14" Type="http://schemas.openxmlformats.org/officeDocument/2006/relationships/chart" Target="../charts/char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slideLayout" Target="../slideLayouts/slideLayout88.xml"/><Relationship Id="rId7" Type="http://schemas.openxmlformats.org/officeDocument/2006/relationships/image" Target="../media/image18.png"/><Relationship Id="rId2" Type="http://schemas.openxmlformats.org/officeDocument/2006/relationships/tags" Target="../tags/tag40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7.jpe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4.bin"/><Relationship Id="rId9" Type="http://schemas.openxmlformats.org/officeDocument/2006/relationships/image" Target="../media/image2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7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21.png"/><Relationship Id="rId2" Type="http://schemas.openxmlformats.org/officeDocument/2006/relationships/vmlDrawing" Target="../drawings/vmlDrawing36.v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6.bin"/><Relationship Id="rId4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7.bin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55.xml"/><Relationship Id="rId18" Type="http://schemas.openxmlformats.org/officeDocument/2006/relationships/tags" Target="../tags/tag60.xml"/><Relationship Id="rId26" Type="http://schemas.openxmlformats.org/officeDocument/2006/relationships/tags" Target="../tags/tag68.xml"/><Relationship Id="rId39" Type="http://schemas.openxmlformats.org/officeDocument/2006/relationships/tags" Target="../tags/tag81.xml"/><Relationship Id="rId21" Type="http://schemas.openxmlformats.org/officeDocument/2006/relationships/tags" Target="../tags/tag63.xml"/><Relationship Id="rId34" Type="http://schemas.openxmlformats.org/officeDocument/2006/relationships/tags" Target="../tags/tag76.xml"/><Relationship Id="rId42" Type="http://schemas.openxmlformats.org/officeDocument/2006/relationships/tags" Target="../tags/tag84.xml"/><Relationship Id="rId47" Type="http://schemas.openxmlformats.org/officeDocument/2006/relationships/tags" Target="../tags/tag89.xml"/><Relationship Id="rId50" Type="http://schemas.openxmlformats.org/officeDocument/2006/relationships/tags" Target="../tags/tag92.xml"/><Relationship Id="rId55" Type="http://schemas.openxmlformats.org/officeDocument/2006/relationships/tags" Target="../tags/tag97.xml"/><Relationship Id="rId63" Type="http://schemas.openxmlformats.org/officeDocument/2006/relationships/tags" Target="../tags/tag105.xml"/><Relationship Id="rId68" Type="http://schemas.openxmlformats.org/officeDocument/2006/relationships/tags" Target="../tags/tag110.xml"/><Relationship Id="rId76" Type="http://schemas.openxmlformats.org/officeDocument/2006/relationships/image" Target="../media/image6.emf"/><Relationship Id="rId84" Type="http://schemas.openxmlformats.org/officeDocument/2006/relationships/image" Target="../media/image25.emf"/><Relationship Id="rId7" Type="http://schemas.openxmlformats.org/officeDocument/2006/relationships/tags" Target="../tags/tag49.xml"/><Relationship Id="rId71" Type="http://schemas.openxmlformats.org/officeDocument/2006/relationships/tags" Target="../tags/tag113.xml"/><Relationship Id="rId2" Type="http://schemas.openxmlformats.org/officeDocument/2006/relationships/tags" Target="../tags/tag44.xml"/><Relationship Id="rId16" Type="http://schemas.openxmlformats.org/officeDocument/2006/relationships/tags" Target="../tags/tag58.xml"/><Relationship Id="rId29" Type="http://schemas.openxmlformats.org/officeDocument/2006/relationships/tags" Target="../tags/tag71.xml"/><Relationship Id="rId11" Type="http://schemas.openxmlformats.org/officeDocument/2006/relationships/tags" Target="../tags/tag53.xml"/><Relationship Id="rId24" Type="http://schemas.openxmlformats.org/officeDocument/2006/relationships/tags" Target="../tags/tag66.xml"/><Relationship Id="rId32" Type="http://schemas.openxmlformats.org/officeDocument/2006/relationships/tags" Target="../tags/tag74.xml"/><Relationship Id="rId37" Type="http://schemas.openxmlformats.org/officeDocument/2006/relationships/tags" Target="../tags/tag79.xml"/><Relationship Id="rId40" Type="http://schemas.openxmlformats.org/officeDocument/2006/relationships/tags" Target="../tags/tag82.xml"/><Relationship Id="rId45" Type="http://schemas.openxmlformats.org/officeDocument/2006/relationships/tags" Target="../tags/tag87.xml"/><Relationship Id="rId53" Type="http://schemas.openxmlformats.org/officeDocument/2006/relationships/tags" Target="../tags/tag95.xml"/><Relationship Id="rId58" Type="http://schemas.openxmlformats.org/officeDocument/2006/relationships/tags" Target="../tags/tag100.xml"/><Relationship Id="rId66" Type="http://schemas.openxmlformats.org/officeDocument/2006/relationships/tags" Target="../tags/tag108.xml"/><Relationship Id="rId74" Type="http://schemas.openxmlformats.org/officeDocument/2006/relationships/slideLayout" Target="../slideLayouts/slideLayout9.xml"/><Relationship Id="rId79" Type="http://schemas.openxmlformats.org/officeDocument/2006/relationships/oleObject" Target="../embeddings/oleObject40.bin"/><Relationship Id="rId87" Type="http://schemas.openxmlformats.org/officeDocument/2006/relationships/oleObject" Target="../embeddings/oleObject44.bin"/><Relationship Id="rId5" Type="http://schemas.openxmlformats.org/officeDocument/2006/relationships/tags" Target="../tags/tag47.xml"/><Relationship Id="rId61" Type="http://schemas.openxmlformats.org/officeDocument/2006/relationships/tags" Target="../tags/tag103.xml"/><Relationship Id="rId82" Type="http://schemas.openxmlformats.org/officeDocument/2006/relationships/image" Target="../media/image24.emf"/><Relationship Id="rId19" Type="http://schemas.openxmlformats.org/officeDocument/2006/relationships/tags" Target="../tags/tag61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tags" Target="../tags/tag56.xml"/><Relationship Id="rId22" Type="http://schemas.openxmlformats.org/officeDocument/2006/relationships/tags" Target="../tags/tag64.xml"/><Relationship Id="rId27" Type="http://schemas.openxmlformats.org/officeDocument/2006/relationships/tags" Target="../tags/tag69.xml"/><Relationship Id="rId30" Type="http://schemas.openxmlformats.org/officeDocument/2006/relationships/tags" Target="../tags/tag72.xml"/><Relationship Id="rId35" Type="http://schemas.openxmlformats.org/officeDocument/2006/relationships/tags" Target="../tags/tag77.xml"/><Relationship Id="rId43" Type="http://schemas.openxmlformats.org/officeDocument/2006/relationships/tags" Target="../tags/tag85.xml"/><Relationship Id="rId48" Type="http://schemas.openxmlformats.org/officeDocument/2006/relationships/tags" Target="../tags/tag90.xml"/><Relationship Id="rId56" Type="http://schemas.openxmlformats.org/officeDocument/2006/relationships/tags" Target="../tags/tag98.xml"/><Relationship Id="rId64" Type="http://schemas.openxmlformats.org/officeDocument/2006/relationships/tags" Target="../tags/tag106.xml"/><Relationship Id="rId69" Type="http://schemas.openxmlformats.org/officeDocument/2006/relationships/tags" Target="../tags/tag111.xml"/><Relationship Id="rId77" Type="http://schemas.openxmlformats.org/officeDocument/2006/relationships/oleObject" Target="../embeddings/oleObject39.bin"/><Relationship Id="rId8" Type="http://schemas.openxmlformats.org/officeDocument/2006/relationships/tags" Target="../tags/tag50.xml"/><Relationship Id="rId51" Type="http://schemas.openxmlformats.org/officeDocument/2006/relationships/tags" Target="../tags/tag93.xml"/><Relationship Id="rId72" Type="http://schemas.openxmlformats.org/officeDocument/2006/relationships/tags" Target="../tags/tag114.xml"/><Relationship Id="rId80" Type="http://schemas.openxmlformats.org/officeDocument/2006/relationships/image" Target="../media/image23.emf"/><Relationship Id="rId85" Type="http://schemas.openxmlformats.org/officeDocument/2006/relationships/oleObject" Target="../embeddings/oleObject43.bin"/><Relationship Id="rId3" Type="http://schemas.openxmlformats.org/officeDocument/2006/relationships/tags" Target="../tags/tag45.xml"/><Relationship Id="rId12" Type="http://schemas.openxmlformats.org/officeDocument/2006/relationships/tags" Target="../tags/tag54.xml"/><Relationship Id="rId17" Type="http://schemas.openxmlformats.org/officeDocument/2006/relationships/tags" Target="../tags/tag59.xml"/><Relationship Id="rId25" Type="http://schemas.openxmlformats.org/officeDocument/2006/relationships/tags" Target="../tags/tag67.xml"/><Relationship Id="rId33" Type="http://schemas.openxmlformats.org/officeDocument/2006/relationships/tags" Target="../tags/tag75.xml"/><Relationship Id="rId38" Type="http://schemas.openxmlformats.org/officeDocument/2006/relationships/tags" Target="../tags/tag80.xml"/><Relationship Id="rId46" Type="http://schemas.openxmlformats.org/officeDocument/2006/relationships/tags" Target="../tags/tag88.xml"/><Relationship Id="rId59" Type="http://schemas.openxmlformats.org/officeDocument/2006/relationships/tags" Target="../tags/tag101.xml"/><Relationship Id="rId67" Type="http://schemas.openxmlformats.org/officeDocument/2006/relationships/tags" Target="../tags/tag109.xml"/><Relationship Id="rId20" Type="http://schemas.openxmlformats.org/officeDocument/2006/relationships/tags" Target="../tags/tag62.xml"/><Relationship Id="rId41" Type="http://schemas.openxmlformats.org/officeDocument/2006/relationships/tags" Target="../tags/tag83.xml"/><Relationship Id="rId54" Type="http://schemas.openxmlformats.org/officeDocument/2006/relationships/tags" Target="../tags/tag96.xml"/><Relationship Id="rId62" Type="http://schemas.openxmlformats.org/officeDocument/2006/relationships/tags" Target="../tags/tag104.xml"/><Relationship Id="rId70" Type="http://schemas.openxmlformats.org/officeDocument/2006/relationships/tags" Target="../tags/tag112.xml"/><Relationship Id="rId75" Type="http://schemas.openxmlformats.org/officeDocument/2006/relationships/oleObject" Target="../embeddings/oleObject38.bin"/><Relationship Id="rId83" Type="http://schemas.openxmlformats.org/officeDocument/2006/relationships/oleObject" Target="../embeddings/oleObject42.bin"/><Relationship Id="rId88" Type="http://schemas.openxmlformats.org/officeDocument/2006/relationships/image" Target="../media/image27.emf"/><Relationship Id="rId1" Type="http://schemas.openxmlformats.org/officeDocument/2006/relationships/vmlDrawing" Target="../drawings/vmlDrawing38.vml"/><Relationship Id="rId6" Type="http://schemas.openxmlformats.org/officeDocument/2006/relationships/tags" Target="../tags/tag48.xml"/><Relationship Id="rId15" Type="http://schemas.openxmlformats.org/officeDocument/2006/relationships/tags" Target="../tags/tag57.xml"/><Relationship Id="rId23" Type="http://schemas.openxmlformats.org/officeDocument/2006/relationships/tags" Target="../tags/tag65.xml"/><Relationship Id="rId28" Type="http://schemas.openxmlformats.org/officeDocument/2006/relationships/tags" Target="../tags/tag70.xml"/><Relationship Id="rId36" Type="http://schemas.openxmlformats.org/officeDocument/2006/relationships/tags" Target="../tags/tag78.xml"/><Relationship Id="rId49" Type="http://schemas.openxmlformats.org/officeDocument/2006/relationships/tags" Target="../tags/tag91.xml"/><Relationship Id="rId57" Type="http://schemas.openxmlformats.org/officeDocument/2006/relationships/tags" Target="../tags/tag99.xml"/><Relationship Id="rId10" Type="http://schemas.openxmlformats.org/officeDocument/2006/relationships/tags" Target="../tags/tag52.xml"/><Relationship Id="rId31" Type="http://schemas.openxmlformats.org/officeDocument/2006/relationships/tags" Target="../tags/tag73.xml"/><Relationship Id="rId44" Type="http://schemas.openxmlformats.org/officeDocument/2006/relationships/tags" Target="../tags/tag86.xml"/><Relationship Id="rId52" Type="http://schemas.openxmlformats.org/officeDocument/2006/relationships/tags" Target="../tags/tag94.xml"/><Relationship Id="rId60" Type="http://schemas.openxmlformats.org/officeDocument/2006/relationships/tags" Target="../tags/tag102.xml"/><Relationship Id="rId65" Type="http://schemas.openxmlformats.org/officeDocument/2006/relationships/tags" Target="../tags/tag107.xml"/><Relationship Id="rId73" Type="http://schemas.openxmlformats.org/officeDocument/2006/relationships/tags" Target="../tags/tag115.xml"/><Relationship Id="rId78" Type="http://schemas.openxmlformats.org/officeDocument/2006/relationships/image" Target="../media/image22.emf"/><Relationship Id="rId81" Type="http://schemas.openxmlformats.org/officeDocument/2006/relationships/oleObject" Target="../embeddings/oleObject41.bin"/><Relationship Id="rId86" Type="http://schemas.openxmlformats.org/officeDocument/2006/relationships/image" Target="../media/image26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image" Target="../media/image28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5.bin"/><Relationship Id="rId4" Type="http://schemas.openxmlformats.org/officeDocument/2006/relationships/slideLayout" Target="../slideLayouts/slideLayout13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13" Type="http://schemas.openxmlformats.org/officeDocument/2006/relationships/image" Target="../media/image36.png"/><Relationship Id="rId18" Type="http://schemas.openxmlformats.org/officeDocument/2006/relationships/image" Target="../media/image41.gif"/><Relationship Id="rId26" Type="http://schemas.openxmlformats.org/officeDocument/2006/relationships/image" Target="../media/image49.jpeg"/><Relationship Id="rId3" Type="http://schemas.openxmlformats.org/officeDocument/2006/relationships/slideLayout" Target="../slideLayouts/slideLayout137.xml"/><Relationship Id="rId21" Type="http://schemas.openxmlformats.org/officeDocument/2006/relationships/image" Target="../media/image44.jpeg"/><Relationship Id="rId7" Type="http://schemas.openxmlformats.org/officeDocument/2006/relationships/image" Target="../media/image30.gif"/><Relationship Id="rId12" Type="http://schemas.openxmlformats.org/officeDocument/2006/relationships/image" Target="../media/image35.jpeg"/><Relationship Id="rId17" Type="http://schemas.openxmlformats.org/officeDocument/2006/relationships/image" Target="../media/image40.jpeg"/><Relationship Id="rId25" Type="http://schemas.openxmlformats.org/officeDocument/2006/relationships/image" Target="../media/image48.jpeg"/><Relationship Id="rId2" Type="http://schemas.openxmlformats.org/officeDocument/2006/relationships/tags" Target="../tags/tag118.xml"/><Relationship Id="rId16" Type="http://schemas.openxmlformats.org/officeDocument/2006/relationships/image" Target="../media/image39.png"/><Relationship Id="rId20" Type="http://schemas.openxmlformats.org/officeDocument/2006/relationships/image" Target="../media/image43.png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9.jpeg"/><Relationship Id="rId11" Type="http://schemas.openxmlformats.org/officeDocument/2006/relationships/image" Target="../media/image34.jpeg"/><Relationship Id="rId24" Type="http://schemas.openxmlformats.org/officeDocument/2006/relationships/image" Target="../media/image47.gif"/><Relationship Id="rId5" Type="http://schemas.openxmlformats.org/officeDocument/2006/relationships/image" Target="../media/image12.emf"/><Relationship Id="rId15" Type="http://schemas.openxmlformats.org/officeDocument/2006/relationships/image" Target="../media/image38.jpeg"/><Relationship Id="rId23" Type="http://schemas.openxmlformats.org/officeDocument/2006/relationships/image" Target="../media/image46.jpeg"/><Relationship Id="rId28" Type="http://schemas.openxmlformats.org/officeDocument/2006/relationships/image" Target="../media/image51.jpeg"/><Relationship Id="rId10" Type="http://schemas.openxmlformats.org/officeDocument/2006/relationships/image" Target="../media/image33.jpeg"/><Relationship Id="rId19" Type="http://schemas.openxmlformats.org/officeDocument/2006/relationships/image" Target="../media/image42.jpeg"/><Relationship Id="rId4" Type="http://schemas.openxmlformats.org/officeDocument/2006/relationships/oleObject" Target="../embeddings/oleObject46.bin"/><Relationship Id="rId9" Type="http://schemas.openxmlformats.org/officeDocument/2006/relationships/image" Target="../media/image32.gif"/><Relationship Id="rId14" Type="http://schemas.openxmlformats.org/officeDocument/2006/relationships/image" Target="../media/image37.gif"/><Relationship Id="rId22" Type="http://schemas.openxmlformats.org/officeDocument/2006/relationships/image" Target="../media/image45.gif"/><Relationship Id="rId27" Type="http://schemas.openxmlformats.org/officeDocument/2006/relationships/image" Target="../media/image5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5294832"/>
              </p:ext>
            </p:extLst>
          </p:nvPr>
        </p:nvGraphicFramePr>
        <p:xfrm>
          <a:off x="1742" y="1906"/>
          <a:ext cx="171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71" name="think-cell Slide" r:id="rId5" imgW="429" imgH="429" progId="TCLayout.ActiveDocument.1">
                  <p:embed/>
                </p:oleObj>
              </mc:Choice>
              <mc:Fallback>
                <p:oleObj name="think-cell Slide" r:id="rId5" imgW="429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42" y="1906"/>
                        <a:ext cx="171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Прямая соединительная линия 4"/>
          <p:cNvCxnSpPr/>
          <p:nvPr/>
        </p:nvCxnSpPr>
        <p:spPr bwMode="auto">
          <a:xfrm>
            <a:off x="802081" y="2204864"/>
            <a:ext cx="8199077" cy="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158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Text Box 6"/>
          <p:cNvSpPr txBox="1">
            <a:spLocks noChangeArrowheads="1"/>
          </p:cNvSpPr>
          <p:nvPr/>
        </p:nvSpPr>
        <p:spPr bwMode="auto">
          <a:xfrm>
            <a:off x="822255" y="953690"/>
            <a:ext cx="9127901" cy="1266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3163" tIns="51581" rIns="103163" bIns="51581" anchor="ctr"/>
          <a:lstStyle>
            <a:defPPr>
              <a:defRPr lang="ru-RU"/>
            </a:defPPr>
            <a:lvl1pPr marL="0" defTabSz="914400" eaLnBrk="1" latinLnBrk="0" hangingPunct="1">
              <a:defRPr sz="1800" b="1">
                <a:solidFill>
                  <a:srgbClr val="008080"/>
                </a:solidFill>
                <a:latin typeface="Arial" charset="0"/>
              </a:defRPr>
            </a:lvl1pPr>
            <a:lvl2pPr marL="742950" indent="-285750" defTabSz="914400" eaLnBrk="0" latinLnBrk="0" hangingPunct="0">
              <a:defRPr sz="1800" b="1">
                <a:latin typeface="Arial" charset="0"/>
              </a:defRPr>
            </a:lvl2pPr>
            <a:lvl3pPr marL="1143000" indent="-228600" defTabSz="914400" eaLnBrk="0" latinLnBrk="0" hangingPunct="0">
              <a:defRPr sz="1800" b="1">
                <a:latin typeface="Arial" charset="0"/>
              </a:defRPr>
            </a:lvl3pPr>
            <a:lvl4pPr marL="1600200" indent="-228600" defTabSz="914400" eaLnBrk="0" latinLnBrk="0" hangingPunct="0">
              <a:defRPr sz="1800" b="1">
                <a:latin typeface="Arial" charset="0"/>
              </a:defRPr>
            </a:lvl4pPr>
            <a:lvl5pPr marL="2057400" indent="-228600" defTabSz="914400" eaLnBrk="0" latinLnBrk="0" hangingPunct="0">
              <a:defRPr sz="1800" b="1"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/>
              <a:t>ИМПОРТОЗАМЕЩЕНИЕ И ЛОКАЛИЗАЦИЯ - ВЛИЯНИЕ НА РЫНОК ПОЛИОЛЕФИНОВ РФ</a:t>
            </a:r>
            <a:endParaRPr lang="ru-RU" dirty="0"/>
          </a:p>
        </p:txBody>
      </p:sp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761054" y="2280941"/>
            <a:ext cx="5897246" cy="1250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3163" tIns="51581" rIns="103163" bIns="51581">
            <a:spAutoFit/>
          </a:bodyPr>
          <a:lstStyle>
            <a:defPPr>
              <a:defRPr lang="ru-RU"/>
            </a:defPPr>
            <a:lvl1pPr marL="0" defTabSz="914400" eaLnBrk="1" latinLnBrk="0" hangingPunct="1">
              <a:spcBef>
                <a:spcPct val="50000"/>
              </a:spcBef>
              <a:defRPr sz="1600" b="0">
                <a:solidFill>
                  <a:srgbClr val="778189"/>
                </a:solidFill>
                <a:latin typeface="Arial" charset="0"/>
              </a:defRPr>
            </a:lvl1pPr>
            <a:lvl2pPr marL="742950" indent="-285750" defTabSz="914400" eaLnBrk="0" latinLnBrk="0" hangingPunct="0">
              <a:defRPr sz="1800" b="1">
                <a:latin typeface="Arial" charset="0"/>
              </a:defRPr>
            </a:lvl2pPr>
            <a:lvl3pPr marL="1143000" indent="-228600" defTabSz="914400" eaLnBrk="0" latinLnBrk="0" hangingPunct="0">
              <a:defRPr sz="1800" b="1">
                <a:latin typeface="Arial" charset="0"/>
              </a:defRPr>
            </a:lvl3pPr>
            <a:lvl4pPr marL="1600200" indent="-228600" defTabSz="914400" eaLnBrk="0" latinLnBrk="0" hangingPunct="0">
              <a:defRPr sz="1800" b="1">
                <a:latin typeface="Arial" charset="0"/>
              </a:defRPr>
            </a:lvl4pPr>
            <a:lvl5pPr marL="2057400" indent="-228600" defTabSz="914400" eaLnBrk="0" latinLnBrk="0" hangingPunct="0">
              <a:defRPr sz="1800" b="1"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latin typeface="Arial" charset="0"/>
              </a:defRPr>
            </a:lvl9pPr>
          </a:lstStyle>
          <a:p>
            <a:pPr fontAlgn="base">
              <a:spcAft>
                <a:spcPct val="0"/>
              </a:spcAft>
            </a:pPr>
            <a:endParaRPr lang="ru-RU" dirty="0" smtClean="0"/>
          </a:p>
          <a:p>
            <a:pPr fontAlgn="base">
              <a:spcAft>
                <a:spcPct val="0"/>
              </a:spcAft>
            </a:pPr>
            <a:r>
              <a:rPr lang="ru-RU" dirty="0" smtClean="0"/>
              <a:t>Олег Коновалов</a:t>
            </a:r>
            <a:endParaRPr lang="ru-RU" dirty="0"/>
          </a:p>
          <a:p>
            <a:pPr fontAlgn="base">
              <a:spcBef>
                <a:spcPts val="338"/>
              </a:spcBef>
              <a:spcAft>
                <a:spcPct val="0"/>
              </a:spcAft>
            </a:pPr>
            <a:r>
              <a:rPr lang="ru-RU" dirty="0" smtClean="0"/>
              <a:t>Стратегическое развитие</a:t>
            </a:r>
          </a:p>
          <a:p>
            <a:pPr fontAlgn="base">
              <a:spcBef>
                <a:spcPts val="0"/>
              </a:spcBef>
              <a:spcAft>
                <a:spcPct val="0"/>
              </a:spcAft>
            </a:pPr>
            <a:r>
              <a:rPr lang="ru-RU" dirty="0" smtClean="0"/>
              <a:t>ООО «СИБУР»</a:t>
            </a: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802081" y="4055944"/>
            <a:ext cx="5094023" cy="381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3163" tIns="51581" rIns="103163" bIns="51581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20000"/>
              </a:spcBef>
              <a:spcAft>
                <a:spcPct val="0"/>
              </a:spcAft>
            </a:pPr>
            <a:r>
              <a:rPr lang="ru-RU" b="0" dirty="0" smtClean="0">
                <a:solidFill>
                  <a:srgbClr val="778189"/>
                </a:solidFill>
                <a:latin typeface="Tahoma" pitchFamily="34" charset="0"/>
              </a:rPr>
              <a:t>Тюмень, февраль</a:t>
            </a:r>
            <a:r>
              <a:rPr lang="en-US" b="0" dirty="0" smtClean="0">
                <a:solidFill>
                  <a:srgbClr val="778189"/>
                </a:solidFill>
                <a:latin typeface="Tahoma" pitchFamily="34" charset="0"/>
              </a:rPr>
              <a:t> </a:t>
            </a:r>
            <a:r>
              <a:rPr lang="ru-RU" b="0" dirty="0" smtClean="0">
                <a:solidFill>
                  <a:srgbClr val="778189"/>
                </a:solidFill>
                <a:latin typeface="Tahoma" pitchFamily="34" charset="0"/>
              </a:rPr>
              <a:t>2015 </a:t>
            </a:r>
            <a:r>
              <a:rPr lang="ru-RU" b="0" dirty="0">
                <a:solidFill>
                  <a:srgbClr val="778189"/>
                </a:solidFill>
                <a:latin typeface="Tahoma" pitchFamily="34" charset="0"/>
              </a:rPr>
              <a:t>г. </a:t>
            </a:r>
          </a:p>
        </p:txBody>
      </p:sp>
      <p:pic>
        <p:nvPicPr>
          <p:cNvPr id="9" name="Picture 20" descr="http://www.uskas-m.com/upload/iblock/3f0/3f0d6b39766272b01acd660c1b9577f7.jpg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artisticPencilSketc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061" y="4437112"/>
            <a:ext cx="5265317" cy="1836000"/>
          </a:xfrm>
          <a:prstGeom prst="roundRect">
            <a:avLst>
              <a:gd name="adj" fmla="val 6519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6350" stA="52000" endA="300" endPos="35000" dir="5400000" sy="-100000" algn="bl" rotWithShape="0"/>
          </a:effectLst>
          <a:extLst/>
        </p:spPr>
      </p:pic>
      <p:sp>
        <p:nvSpPr>
          <p:cNvPr id="3" name="Скругленный прямоугольник 2"/>
          <p:cNvSpPr/>
          <p:nvPr/>
        </p:nvSpPr>
        <p:spPr bwMode="auto">
          <a:xfrm>
            <a:off x="4656230" y="2636912"/>
            <a:ext cx="5265326" cy="1836000"/>
          </a:xfrm>
          <a:prstGeom prst="roundRect">
            <a:avLst/>
          </a:prstGeom>
          <a:blipFill dpi="0" rotWithShape="1"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artisticPencilSketch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reflection blurRad="6350" stA="52000" endA="300" endPos="35000" dir="5400000" sy="-100000" algn="bl" rotWithShape="0"/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3555893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4293774"/>
              </p:ext>
            </p:extLst>
          </p:nvPr>
        </p:nvGraphicFramePr>
        <p:xfrm>
          <a:off x="1643" y="164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0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43" y="164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Равнобедренный треугольник 4"/>
          <p:cNvSpPr/>
          <p:nvPr/>
        </p:nvSpPr>
        <p:spPr bwMode="auto">
          <a:xfrm>
            <a:off x="2668518" y="1980912"/>
            <a:ext cx="4569079" cy="3034624"/>
          </a:xfrm>
          <a:prstGeom prst="triangle">
            <a:avLst/>
          </a:prstGeom>
          <a:solidFill>
            <a:schemeClr val="accent1"/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5288" tIns="32644" rIns="65288" bIns="32644" numCol="1" spcCol="0" rtlCol="0" anchor="t" anchorCtr="0" compatLnSpc="1">
            <a:prstTxWarp prst="textNoShape">
              <a:avLst/>
            </a:prstTxWarp>
          </a:bodyPr>
          <a:lstStyle/>
          <a:p>
            <a:pPr algn="ctr" defTabSz="652886" fontAlgn="base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000000"/>
              </a:solidFill>
            </a:endParaRPr>
          </a:p>
        </p:txBody>
      </p:sp>
      <p:sp>
        <p:nvSpPr>
          <p:cNvPr id="6" name="Овал 5"/>
          <p:cNvSpPr/>
          <p:nvPr/>
        </p:nvSpPr>
        <p:spPr bwMode="auto">
          <a:xfrm>
            <a:off x="4451517" y="1543719"/>
            <a:ext cx="1002968" cy="874384"/>
          </a:xfrm>
          <a:prstGeom prst="ellipse">
            <a:avLst/>
          </a:prstGeom>
          <a:solidFill>
            <a:schemeClr val="accent2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5288" tIns="32644" rIns="65288" bIns="32644" numCol="1" spcCol="0" rtlCol="0" anchor="t" anchorCtr="0" compatLnSpc="1">
            <a:prstTxWarp prst="textNoShape">
              <a:avLst/>
            </a:prstTxWarp>
          </a:bodyPr>
          <a:lstStyle/>
          <a:p>
            <a:pPr algn="ctr" defTabSz="652886" fontAlgn="base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000000"/>
              </a:solidFill>
            </a:endParaRPr>
          </a:p>
        </p:txBody>
      </p:sp>
      <p:sp>
        <p:nvSpPr>
          <p:cNvPr id="7" name="Овал 6"/>
          <p:cNvSpPr/>
          <p:nvPr/>
        </p:nvSpPr>
        <p:spPr bwMode="auto">
          <a:xfrm>
            <a:off x="2166978" y="4578401"/>
            <a:ext cx="1002968" cy="874384"/>
          </a:xfrm>
          <a:prstGeom prst="ellipse">
            <a:avLst/>
          </a:prstGeom>
          <a:solidFill>
            <a:schemeClr val="accent2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5288" tIns="32644" rIns="65288" bIns="32644" numCol="1" spcCol="0" rtlCol="0" anchor="t" anchorCtr="0" compatLnSpc="1">
            <a:prstTxWarp prst="textNoShape">
              <a:avLst/>
            </a:prstTxWarp>
          </a:bodyPr>
          <a:lstStyle/>
          <a:p>
            <a:pPr algn="ctr" defTabSz="652886" fontAlgn="base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000000"/>
              </a:solidFill>
            </a:endParaRPr>
          </a:p>
        </p:txBody>
      </p:sp>
      <p:sp>
        <p:nvSpPr>
          <p:cNvPr id="8" name="Овал 7"/>
          <p:cNvSpPr/>
          <p:nvPr/>
        </p:nvSpPr>
        <p:spPr bwMode="auto">
          <a:xfrm>
            <a:off x="6736059" y="4578401"/>
            <a:ext cx="1002968" cy="874384"/>
          </a:xfrm>
          <a:prstGeom prst="ellipse">
            <a:avLst/>
          </a:prstGeom>
          <a:solidFill>
            <a:schemeClr val="accent2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5288" tIns="32644" rIns="65288" bIns="32644" numCol="1" spcCol="0" rtlCol="0" anchor="t" anchorCtr="0" compatLnSpc="1">
            <a:prstTxWarp prst="textNoShape">
              <a:avLst/>
            </a:prstTxWarp>
          </a:bodyPr>
          <a:lstStyle/>
          <a:p>
            <a:pPr algn="ctr" defTabSz="652886" fontAlgn="base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894368" y="1160809"/>
            <a:ext cx="2228819" cy="373702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1000" b="1" dirty="0">
                <a:solidFill>
                  <a:srgbClr val="000000"/>
                </a:solidFill>
              </a:rPr>
              <a:t>ФЕДЕРАЛЬНЫЕ ОРГАНЫ ИСПОЛНИТЕЛЬНОЙ ВЛАСТИ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906187" y="4828749"/>
            <a:ext cx="1894497" cy="527590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1000" b="1" dirty="0">
                <a:solidFill>
                  <a:srgbClr val="000000"/>
                </a:solidFill>
              </a:rPr>
              <a:t>ПОСТАВЩИКИ ПРОМЫШЛЕННОГО ОБОРУДОВАНИЯ И УСЛУГ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4463" y="4828730"/>
            <a:ext cx="2228819" cy="527590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1000" b="1" dirty="0">
                <a:solidFill>
                  <a:srgbClr val="000000"/>
                </a:solidFill>
              </a:rPr>
              <a:t>КОМПАНИИ-ПОТРЕБИТЕЛИ ПРОМЫШЛЕННОГО ОБОРУДОВАНИЯ И УСЛУГ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838648" y="3503369"/>
            <a:ext cx="2228819" cy="681479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1000" b="1" dirty="0">
                <a:solidFill>
                  <a:srgbClr val="FFFFFF"/>
                </a:solidFill>
              </a:rPr>
              <a:t>«ДОРОЖНЫЕ КАРТЫ ЛОКАЛИЗАЦИИ ПРОМЫШЛЕННОГО ПРОИЗВОДСТВА В РФ»</a:t>
            </a:r>
          </a:p>
        </p:txBody>
      </p:sp>
      <p:cxnSp>
        <p:nvCxnSpPr>
          <p:cNvPr id="18" name="Соединительная линия уступом 17"/>
          <p:cNvCxnSpPr>
            <a:stCxn id="6" idx="6"/>
            <a:endCxn id="8" idx="0"/>
          </p:cNvCxnSpPr>
          <p:nvPr/>
        </p:nvCxnSpPr>
        <p:spPr bwMode="auto">
          <a:xfrm>
            <a:off x="5454541" y="1981009"/>
            <a:ext cx="1783055" cy="2597431"/>
          </a:xfrm>
          <a:prstGeom prst="bentConnector2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Соединительная линия уступом 20"/>
          <p:cNvCxnSpPr>
            <a:stCxn id="6" idx="2"/>
            <a:endCxn id="7" idx="0"/>
          </p:cNvCxnSpPr>
          <p:nvPr/>
        </p:nvCxnSpPr>
        <p:spPr bwMode="auto">
          <a:xfrm rot="10800000" flipV="1">
            <a:off x="2668516" y="1981009"/>
            <a:ext cx="1783055" cy="2597431"/>
          </a:xfrm>
          <a:prstGeom prst="bentConnector2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Соединительная линия уступом 23"/>
          <p:cNvCxnSpPr>
            <a:stCxn id="8" idx="4"/>
            <a:endCxn id="7" idx="4"/>
          </p:cNvCxnSpPr>
          <p:nvPr/>
        </p:nvCxnSpPr>
        <p:spPr bwMode="auto">
          <a:xfrm rot="5400000">
            <a:off x="4953417" y="3168285"/>
            <a:ext cx="9071" cy="4569079"/>
          </a:xfrm>
          <a:prstGeom prst="bentConnector3">
            <a:avLst>
              <a:gd name="adj1" fmla="val 3293408"/>
            </a:avLst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Соединительная линия уступом 26"/>
          <p:cNvCxnSpPr>
            <a:stCxn id="7" idx="3"/>
            <a:endCxn id="8" idx="5"/>
          </p:cNvCxnSpPr>
          <p:nvPr/>
        </p:nvCxnSpPr>
        <p:spPr bwMode="auto">
          <a:xfrm rot="16200000" flipH="1">
            <a:off x="4953417" y="2685630"/>
            <a:ext cx="9071" cy="5278285"/>
          </a:xfrm>
          <a:prstGeom prst="bentConnector3">
            <a:avLst>
              <a:gd name="adj1" fmla="val 13497299"/>
            </a:avLst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TextBox 14"/>
          <p:cNvSpPr txBox="1"/>
          <p:nvPr/>
        </p:nvSpPr>
        <p:spPr>
          <a:xfrm>
            <a:off x="6123133" y="2063265"/>
            <a:ext cx="3677551" cy="1980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1"/>
            </a:solidFill>
          </a:ln>
        </p:spPr>
        <p:txBody>
          <a:bodyPr wrap="square" lIns="65288" tIns="32644" rIns="65288" bIns="32644" rtlCol="0">
            <a:noAutofit/>
          </a:bodyPr>
          <a:lstStyle/>
          <a:p>
            <a:pPr marL="171424" indent="-171424" defTabSz="914042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Формирование короткого списка компаний РФ, имеющих потенциал локализации </a:t>
            </a:r>
          </a:p>
          <a:p>
            <a:pPr marL="171424" indent="-171424" defTabSz="914042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Эффективные госпрограммы развития машиностроения</a:t>
            </a:r>
          </a:p>
          <a:p>
            <a:pPr marL="171424" indent="-171424" defTabSz="914042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Пакет мероприятий целевой (короткий список) господдержки и стимулирования локализации промышленного производства </a:t>
            </a:r>
          </a:p>
          <a:p>
            <a:pPr marL="361894" lvl="1" indent="-180947" defTabSz="914042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000000"/>
                </a:solidFill>
              </a:rPr>
              <a:t>Фискально-таможенные преференции </a:t>
            </a:r>
          </a:p>
          <a:p>
            <a:pPr marL="361894" lvl="1" indent="-180947" defTabSz="914042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000000"/>
                </a:solidFill>
              </a:rPr>
              <a:t>Инвестиции в основные фонды </a:t>
            </a:r>
          </a:p>
          <a:p>
            <a:pPr marL="361894" lvl="1" indent="-180947" defTabSz="914042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000000"/>
                </a:solidFill>
              </a:rPr>
              <a:t>Кадры, образование и научная поддержка  </a:t>
            </a:r>
          </a:p>
          <a:p>
            <a:pPr marL="361894" lvl="1" indent="-180947" defTabSz="914042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000000"/>
                </a:solidFill>
              </a:rPr>
              <a:t>Преференциальные </a:t>
            </a:r>
            <a:r>
              <a:rPr lang="ru-RU" sz="1000" dirty="0" err="1">
                <a:solidFill>
                  <a:srgbClr val="000000"/>
                </a:solidFill>
              </a:rPr>
              <a:t>госзакупки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20929" y="2063265"/>
            <a:ext cx="3677551" cy="19802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1"/>
            </a:solidFill>
          </a:ln>
        </p:spPr>
        <p:txBody>
          <a:bodyPr wrap="square" lIns="65288" tIns="32644" rIns="65288" bIns="32644" rtlCol="0">
            <a:noAutofit/>
          </a:bodyPr>
          <a:lstStyle/>
          <a:p>
            <a:pPr marL="171424" indent="-171424" defTabSz="914042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Содействие в формировании механизмов долгосрочного финансирования </a:t>
            </a:r>
            <a:r>
              <a:rPr lang="ru-RU" sz="1000" dirty="0">
                <a:solidFill>
                  <a:srgbClr val="000000"/>
                </a:solidFill>
              </a:rPr>
              <a:t>(денег развития) российских банков, для промышленной модернизации </a:t>
            </a:r>
          </a:p>
          <a:p>
            <a:pPr marL="171424" indent="-171424" defTabSz="914042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Совершенствование механизмов фискально-таможенной политики и технического регулирования </a:t>
            </a:r>
            <a:r>
              <a:rPr lang="ru-RU" sz="1000" dirty="0">
                <a:solidFill>
                  <a:srgbClr val="000000"/>
                </a:solidFill>
              </a:rPr>
              <a:t>закупок</a:t>
            </a:r>
            <a:r>
              <a:rPr lang="ru-RU" sz="1000" b="1" dirty="0">
                <a:solidFill>
                  <a:srgbClr val="000000"/>
                </a:solidFill>
              </a:rPr>
              <a:t> </a:t>
            </a:r>
            <a:r>
              <a:rPr lang="ru-RU" sz="1000" dirty="0">
                <a:solidFill>
                  <a:srgbClr val="000000"/>
                </a:solidFill>
              </a:rPr>
              <a:t>нового промышленного оборудования для стимулирования локализации</a:t>
            </a:r>
          </a:p>
          <a:p>
            <a:pPr marL="171424" indent="-171424" defTabSz="914042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Использование передового зарубежного опыта</a:t>
            </a:r>
            <a:r>
              <a:rPr lang="ru-RU" sz="1000" dirty="0">
                <a:solidFill>
                  <a:srgbClr val="000000"/>
                </a:solidFill>
              </a:rPr>
              <a:t> локализации промышленности  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573740" y="6057394"/>
            <a:ext cx="4797533" cy="68147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1"/>
            </a:solidFill>
          </a:ln>
        </p:spPr>
        <p:txBody>
          <a:bodyPr wrap="square" lIns="65288" tIns="32644" rIns="65288" bIns="32644" rtlCol="0">
            <a:spAutoFit/>
          </a:bodyPr>
          <a:lstStyle/>
          <a:p>
            <a:pPr marL="171424" indent="-171424" algn="just" defTabSz="914042"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Прогноз средне- и долгосрочных уровней потребностей и закупок по промышленному оборудованию </a:t>
            </a:r>
          </a:p>
          <a:p>
            <a:pPr marL="171424" indent="-171424" algn="just" defTabSz="914042"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Детализация технических требований по основным группам </a:t>
            </a:r>
          </a:p>
          <a:p>
            <a:pPr marL="171424" indent="-171424" algn="just" defTabSz="914042"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Технический аудит, тестирование и сертификация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918750" y="5301310"/>
            <a:ext cx="4062531" cy="68147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1"/>
            </a:solidFill>
          </a:ln>
        </p:spPr>
        <p:txBody>
          <a:bodyPr wrap="square" lIns="65288" tIns="32644" rIns="65288" bIns="32644" rtlCol="0">
            <a:spAutoFit/>
          </a:bodyPr>
          <a:lstStyle/>
          <a:p>
            <a:pPr marL="171424" indent="-171424" algn="just" defTabSz="914042"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Модернизация основных фондов </a:t>
            </a:r>
          </a:p>
          <a:p>
            <a:pPr marL="171424" indent="-171424" algn="just" defTabSz="914042"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Модернизация проектно-конструкторской базы </a:t>
            </a:r>
          </a:p>
          <a:p>
            <a:pPr marL="171424" indent="-171424" algn="just" defTabSz="914042"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Кадровое развитие и компетенции</a:t>
            </a:r>
          </a:p>
          <a:p>
            <a:pPr marL="171424" indent="-171424" algn="just" defTabSz="914042"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Процедура контроля качества и клиентского сервиса 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E21891-C490-4004-85C6-D1C420B5BA6E}" type="slidenum">
              <a:rPr lang="ru-RU" altLang="en-US" smtClean="0"/>
              <a:pPr>
                <a:defRPr/>
              </a:pPr>
              <a:t>10</a:t>
            </a:fld>
            <a:endParaRPr lang="ru-RU" altLang="en-US" dirty="0"/>
          </a:p>
        </p:txBody>
      </p:sp>
      <p:sp>
        <p:nvSpPr>
          <p:cNvPr id="22" name="Заголовок 2"/>
          <p:cNvSpPr txBox="1">
            <a:spLocks/>
          </p:cNvSpPr>
          <p:nvPr/>
        </p:nvSpPr>
        <p:spPr>
          <a:xfrm>
            <a:off x="392725" y="188680"/>
            <a:ext cx="9600836" cy="759493"/>
          </a:xfrm>
          <a:prstGeom prst="rect">
            <a:avLst/>
          </a:prstGeom>
          <a:noFill/>
        </p:spPr>
        <p:txBody>
          <a:bodyPr lIns="87290" tIns="43644" rIns="87290" bIns="43644"/>
          <a:lstStyle>
            <a:lvl1pPr algn="l" defTabSz="955292" rtl="0" eaLnBrk="0" fontAlgn="base" hangingPunct="0">
              <a:spcBef>
                <a:spcPct val="0"/>
              </a:spcBef>
              <a:spcAft>
                <a:spcPct val="0"/>
              </a:spcAft>
              <a:defRPr kumimoji="0" lang="ru-RU" sz="18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  <a:lvl2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2pPr>
            <a:lvl3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3pPr>
            <a:lvl4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4pPr>
            <a:lvl5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5pPr>
            <a:lvl6pPr marL="436016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6pPr>
            <a:lvl7pPr marL="872029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7pPr>
            <a:lvl8pPr marL="1308043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8pPr>
            <a:lvl9pPr marL="1744064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defTabSz="652886"/>
            <a:r>
              <a:rPr lang="ru-RU" dirty="0">
                <a:solidFill>
                  <a:srgbClr val="008080"/>
                </a:solidFill>
              </a:rPr>
              <a:t>ТРЕУГОЛЬНИК ЛОКАЛИЗАЦИИ – НЕОБХОДИМЫ СОГЛАСОВАННЫЕ ДОЛГОСРОЧНЫЕ ДЕЙСТВИЯ ГОСУДАРСТВА, КОМПАНИЙ-ПОТРЕБИТЕЛЕЙ И КОМПАНИЙ-ПОСТАВЩИКОВ РФ НА БАЗЕ «ДОРОЖНЫХ КАРТ ЛОКАЛИЗАЦИИ»</a:t>
            </a:r>
          </a:p>
        </p:txBody>
      </p:sp>
    </p:spTree>
    <p:extLst>
      <p:ext uri="{BB962C8B-B14F-4D97-AF65-F5344CB8AC3E}">
        <p14:creationId xmlns:p14="http://schemas.microsoft.com/office/powerpoint/2010/main" val="40501761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1396278" y="6484347"/>
            <a:ext cx="69410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i="1" dirty="0" smtClean="0">
                <a:solidFill>
                  <a:srgbClr val="000000"/>
                </a:solidFill>
              </a:rPr>
              <a:t>Примечание: * - бутылочный ПЭТФ</a:t>
            </a:r>
          </a:p>
          <a:p>
            <a:pPr defTabSz="914400"/>
            <a:r>
              <a:rPr lang="ru-RU" sz="800" i="1" dirty="0" smtClean="0">
                <a:solidFill>
                  <a:srgbClr val="000000"/>
                </a:solidFill>
              </a:rPr>
              <a:t>Источник</a:t>
            </a:r>
            <a:r>
              <a:rPr lang="ru-RU" sz="800" i="1" dirty="0">
                <a:solidFill>
                  <a:srgbClr val="000000"/>
                </a:solidFill>
              </a:rPr>
              <a:t>: </a:t>
            </a:r>
            <a:r>
              <a:rPr lang="ru-RU" sz="800" i="1" dirty="0" smtClean="0">
                <a:solidFill>
                  <a:srgbClr val="000000"/>
                </a:solidFill>
              </a:rPr>
              <a:t>План развития нефте- и газохимии РФ на период до 2030 года, Минэнерго РФ, данные компаний</a:t>
            </a:r>
            <a:endParaRPr lang="ru-RU" sz="800" i="1" dirty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9855" y="1296473"/>
            <a:ext cx="9498115" cy="276999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</p:spPr>
        <p:txBody>
          <a:bodyPr wrap="square" rtlCol="0" anchor="ctr">
            <a:spAutoFit/>
          </a:bodyPr>
          <a:lstStyle/>
          <a:p>
            <a:pPr algn="ctr" defTabSz="914400"/>
            <a:r>
              <a:rPr lang="ru-RU" sz="1200" b="1" dirty="0" smtClean="0">
                <a:solidFill>
                  <a:srgbClr val="FFFFFF"/>
                </a:solidFill>
              </a:rPr>
              <a:t>ПЕРСПЕКТИВЫ РАЗВИТИЯ ПЛАСТИКОВ В РОССИИ, ТЫС. Т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7" name="Прямоугольник 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9852" y="1636489"/>
            <a:ext cx="3003000" cy="3024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lIns="0" tIns="0" rIns="0" bIns="0" anchor="ctr"/>
          <a:lstStyle/>
          <a:p>
            <a:pPr algn="ctr" defTabSz="914400" eaLnBrk="0" hangingPunct="0"/>
            <a:r>
              <a:rPr lang="ru-RU" sz="1200" b="1" dirty="0" smtClean="0">
                <a:solidFill>
                  <a:srgbClr val="FFFFFF"/>
                </a:solidFill>
              </a:rPr>
              <a:t>ПЭ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38195" y="1636489"/>
            <a:ext cx="3003000" cy="3024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lIns="0" tIns="0" rIns="0" bIns="0" anchor="ctr"/>
          <a:lstStyle/>
          <a:p>
            <a:pPr algn="ctr" defTabSz="914400" eaLnBrk="0" hangingPunct="0"/>
            <a:r>
              <a:rPr lang="ru-RU" sz="1200" b="1" dirty="0" smtClean="0">
                <a:solidFill>
                  <a:srgbClr val="FFFFFF"/>
                </a:solidFill>
              </a:rPr>
              <a:t>ПП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9" name="Прямоугольник 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786537" y="1636489"/>
            <a:ext cx="3003000" cy="3024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lIns="0" tIns="0" rIns="0" bIns="0" anchor="ctr"/>
          <a:lstStyle/>
          <a:p>
            <a:pPr algn="ctr" defTabSz="914400" eaLnBrk="0" hangingPunct="0"/>
            <a:r>
              <a:rPr lang="ru-RU" sz="1200" b="1" dirty="0" smtClean="0">
                <a:solidFill>
                  <a:srgbClr val="FFFFFF"/>
                </a:solidFill>
              </a:rPr>
              <a:t>ПВХ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10" name="Прямоугольник 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871991" y="4022932"/>
            <a:ext cx="3003000" cy="3024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lIns="0" tIns="0" rIns="0" bIns="0" anchor="ctr"/>
          <a:lstStyle/>
          <a:p>
            <a:pPr algn="ctr" defTabSz="914400" eaLnBrk="0" hangingPunct="0"/>
            <a:r>
              <a:rPr lang="ru-RU" sz="1200" b="1" dirty="0" smtClean="0">
                <a:solidFill>
                  <a:srgbClr val="FFFFFF"/>
                </a:solidFill>
              </a:rPr>
              <a:t>ПС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11" name="Прямоугольник 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60390" y="4007692"/>
            <a:ext cx="3003000" cy="3024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  <a:extLst/>
        </p:spPr>
        <p:txBody>
          <a:bodyPr lIns="0" tIns="0" rIns="0" bIns="0" anchor="ctr"/>
          <a:lstStyle/>
          <a:p>
            <a:pPr algn="ctr" defTabSz="914400" eaLnBrk="0" hangingPunct="0"/>
            <a:r>
              <a:rPr lang="ru-RU" sz="1200" b="1" dirty="0" smtClean="0">
                <a:solidFill>
                  <a:srgbClr val="FFFFFF"/>
                </a:solidFill>
              </a:rPr>
              <a:t>ПЭТФ*</a:t>
            </a:r>
            <a:endParaRPr lang="ru-RU" sz="1200" b="1" dirty="0">
              <a:solidFill>
                <a:srgbClr val="FFFFFF"/>
              </a:solidFill>
            </a:endParaRPr>
          </a:p>
        </p:txBody>
      </p:sp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val="3352902565"/>
              </p:ext>
            </p:extLst>
          </p:nvPr>
        </p:nvGraphicFramePr>
        <p:xfrm>
          <a:off x="1988674" y="2037952"/>
          <a:ext cx="1277767" cy="20062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Диаграмма 12"/>
          <p:cNvGraphicFramePr/>
          <p:nvPr>
            <p:extLst>
              <p:ext uri="{D42A27DB-BD31-4B8C-83A1-F6EECF244321}">
                <p14:modId xmlns:p14="http://schemas.microsoft.com/office/powerpoint/2010/main" val="2974744862"/>
              </p:ext>
            </p:extLst>
          </p:nvPr>
        </p:nvGraphicFramePr>
        <p:xfrm>
          <a:off x="289852" y="2049382"/>
          <a:ext cx="1620810" cy="20062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4" name="Диаграмма 13"/>
          <p:cNvGraphicFramePr/>
          <p:nvPr>
            <p:extLst>
              <p:ext uri="{D42A27DB-BD31-4B8C-83A1-F6EECF244321}">
                <p14:modId xmlns:p14="http://schemas.microsoft.com/office/powerpoint/2010/main" val="548560394"/>
              </p:ext>
            </p:extLst>
          </p:nvPr>
        </p:nvGraphicFramePr>
        <p:xfrm>
          <a:off x="3538204" y="2083672"/>
          <a:ext cx="1686998" cy="20062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5" name="Диаграмма 14"/>
          <p:cNvGraphicFramePr/>
          <p:nvPr>
            <p:extLst>
              <p:ext uri="{D42A27DB-BD31-4B8C-83A1-F6EECF244321}">
                <p14:modId xmlns:p14="http://schemas.microsoft.com/office/powerpoint/2010/main" val="604844077"/>
              </p:ext>
            </p:extLst>
          </p:nvPr>
        </p:nvGraphicFramePr>
        <p:xfrm>
          <a:off x="5261995" y="2072242"/>
          <a:ext cx="1279200" cy="20062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cxnSp>
        <p:nvCxnSpPr>
          <p:cNvPr id="16" name="Прямая соединительная линия 15"/>
          <p:cNvCxnSpPr/>
          <p:nvPr/>
        </p:nvCxnSpPr>
        <p:spPr bwMode="auto">
          <a:xfrm>
            <a:off x="1972575" y="2111711"/>
            <a:ext cx="0" cy="172800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единительная линия 16"/>
          <p:cNvCxnSpPr/>
          <p:nvPr/>
        </p:nvCxnSpPr>
        <p:spPr bwMode="auto">
          <a:xfrm>
            <a:off x="5265035" y="2111711"/>
            <a:ext cx="0" cy="172800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8" name="Диаграмма 17"/>
          <p:cNvGraphicFramePr/>
          <p:nvPr>
            <p:extLst>
              <p:ext uri="{D42A27DB-BD31-4B8C-83A1-F6EECF244321}">
                <p14:modId xmlns:p14="http://schemas.microsoft.com/office/powerpoint/2010/main" val="2069747821"/>
              </p:ext>
            </p:extLst>
          </p:nvPr>
        </p:nvGraphicFramePr>
        <p:xfrm>
          <a:off x="6786537" y="2060811"/>
          <a:ext cx="1676853" cy="18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cxnSp>
        <p:nvCxnSpPr>
          <p:cNvPr id="19" name="Прямая соединительная линия 18"/>
          <p:cNvCxnSpPr/>
          <p:nvPr/>
        </p:nvCxnSpPr>
        <p:spPr bwMode="auto">
          <a:xfrm>
            <a:off x="8500124" y="2111711"/>
            <a:ext cx="0" cy="172800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20" name="Диаграмма 19"/>
          <p:cNvGraphicFramePr/>
          <p:nvPr>
            <p:extLst>
              <p:ext uri="{D42A27DB-BD31-4B8C-83A1-F6EECF244321}">
                <p14:modId xmlns:p14="http://schemas.microsoft.com/office/powerpoint/2010/main" val="1641188217"/>
              </p:ext>
            </p:extLst>
          </p:nvPr>
        </p:nvGraphicFramePr>
        <p:xfrm>
          <a:off x="8500473" y="1992231"/>
          <a:ext cx="1279200" cy="18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Диаграмма 20"/>
          <p:cNvGraphicFramePr/>
          <p:nvPr>
            <p:extLst>
              <p:ext uri="{D42A27DB-BD31-4B8C-83A1-F6EECF244321}">
                <p14:modId xmlns:p14="http://schemas.microsoft.com/office/powerpoint/2010/main" val="2652375199"/>
              </p:ext>
            </p:extLst>
          </p:nvPr>
        </p:nvGraphicFramePr>
        <p:xfrm>
          <a:off x="1861222" y="4515912"/>
          <a:ext cx="1687629" cy="20062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cxnSp>
        <p:nvCxnSpPr>
          <p:cNvPr id="22" name="Прямая соединительная линия 21"/>
          <p:cNvCxnSpPr/>
          <p:nvPr/>
        </p:nvCxnSpPr>
        <p:spPr bwMode="auto">
          <a:xfrm>
            <a:off x="3585578" y="4469469"/>
            <a:ext cx="0" cy="172800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23" name="Диаграмма 22"/>
          <p:cNvGraphicFramePr/>
          <p:nvPr>
            <p:extLst>
              <p:ext uri="{D42A27DB-BD31-4B8C-83A1-F6EECF244321}">
                <p14:modId xmlns:p14="http://schemas.microsoft.com/office/powerpoint/2010/main" val="3200909776"/>
              </p:ext>
            </p:extLst>
          </p:nvPr>
        </p:nvGraphicFramePr>
        <p:xfrm>
          <a:off x="3587515" y="4515912"/>
          <a:ext cx="1279200" cy="20062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24" name="Диаграмма 23"/>
          <p:cNvGraphicFramePr/>
          <p:nvPr>
            <p:extLst>
              <p:ext uri="{D42A27DB-BD31-4B8C-83A1-F6EECF244321}">
                <p14:modId xmlns:p14="http://schemas.microsoft.com/office/powerpoint/2010/main" val="761411613"/>
              </p:ext>
            </p:extLst>
          </p:nvPr>
        </p:nvGraphicFramePr>
        <p:xfrm>
          <a:off x="7173871" y="4523069"/>
          <a:ext cx="1279200" cy="20062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25" name="Диаграмма 24"/>
          <p:cNvGraphicFramePr/>
          <p:nvPr>
            <p:extLst>
              <p:ext uri="{D42A27DB-BD31-4B8C-83A1-F6EECF244321}">
                <p14:modId xmlns:p14="http://schemas.microsoft.com/office/powerpoint/2010/main" val="1049715577"/>
              </p:ext>
            </p:extLst>
          </p:nvPr>
        </p:nvGraphicFramePr>
        <p:xfrm>
          <a:off x="5484763" y="4511638"/>
          <a:ext cx="1652480" cy="20062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cxnSp>
        <p:nvCxnSpPr>
          <p:cNvPr id="26" name="Прямая соединительная линия 25"/>
          <p:cNvCxnSpPr/>
          <p:nvPr/>
        </p:nvCxnSpPr>
        <p:spPr bwMode="auto">
          <a:xfrm>
            <a:off x="7173976" y="4476622"/>
            <a:ext cx="0" cy="172800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Прямая соединительная линия 26"/>
          <p:cNvCxnSpPr/>
          <p:nvPr/>
        </p:nvCxnSpPr>
        <p:spPr bwMode="auto">
          <a:xfrm>
            <a:off x="1052566" y="3416695"/>
            <a:ext cx="195000" cy="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единительная линия 27"/>
          <p:cNvCxnSpPr/>
          <p:nvPr/>
        </p:nvCxnSpPr>
        <p:spPr bwMode="auto">
          <a:xfrm>
            <a:off x="1426424" y="3600399"/>
            <a:ext cx="195000" cy="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2332852" y="2311200"/>
            <a:ext cx="195000" cy="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2720603" y="2848708"/>
            <a:ext cx="195000" cy="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4301414" y="3406188"/>
            <a:ext cx="195000" cy="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4715954" y="3606892"/>
            <a:ext cx="195000" cy="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/>
        </p:nvCxnSpPr>
        <p:spPr bwMode="auto">
          <a:xfrm>
            <a:off x="5593579" y="2361111"/>
            <a:ext cx="195000" cy="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/>
        </p:nvCxnSpPr>
        <p:spPr bwMode="auto">
          <a:xfrm>
            <a:off x="5993522" y="3021527"/>
            <a:ext cx="195000" cy="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/>
        </p:nvCxnSpPr>
        <p:spPr bwMode="auto">
          <a:xfrm>
            <a:off x="7542766" y="3130104"/>
            <a:ext cx="195000" cy="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Прямая соединительная линия 35"/>
          <p:cNvCxnSpPr/>
          <p:nvPr/>
        </p:nvCxnSpPr>
        <p:spPr bwMode="auto">
          <a:xfrm>
            <a:off x="7954059" y="3580219"/>
            <a:ext cx="195000" cy="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Прямая соединительная линия 36"/>
          <p:cNvCxnSpPr/>
          <p:nvPr/>
        </p:nvCxnSpPr>
        <p:spPr bwMode="auto">
          <a:xfrm>
            <a:off x="8843114" y="2439522"/>
            <a:ext cx="195000" cy="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Прямая соединительная линия 37"/>
          <p:cNvCxnSpPr/>
          <p:nvPr/>
        </p:nvCxnSpPr>
        <p:spPr bwMode="auto">
          <a:xfrm>
            <a:off x="9238317" y="3406188"/>
            <a:ext cx="195000" cy="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Прямая соединительная линия 38"/>
          <p:cNvCxnSpPr/>
          <p:nvPr/>
        </p:nvCxnSpPr>
        <p:spPr bwMode="auto">
          <a:xfrm>
            <a:off x="2614260" y="5229200"/>
            <a:ext cx="195000" cy="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Прямая соединительная линия 39"/>
          <p:cNvCxnSpPr/>
          <p:nvPr/>
        </p:nvCxnSpPr>
        <p:spPr bwMode="auto">
          <a:xfrm>
            <a:off x="3930632" y="4941168"/>
            <a:ext cx="195000" cy="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Прямая соединительная линия 40"/>
          <p:cNvCxnSpPr/>
          <p:nvPr/>
        </p:nvCxnSpPr>
        <p:spPr bwMode="auto">
          <a:xfrm>
            <a:off x="3048655" y="5445224"/>
            <a:ext cx="195000" cy="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Прямая соединительная линия 41"/>
          <p:cNvCxnSpPr/>
          <p:nvPr/>
        </p:nvCxnSpPr>
        <p:spPr bwMode="auto">
          <a:xfrm>
            <a:off x="4315553" y="5661248"/>
            <a:ext cx="195000" cy="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Прямая соединительная линия 42"/>
          <p:cNvCxnSpPr/>
          <p:nvPr/>
        </p:nvCxnSpPr>
        <p:spPr bwMode="auto">
          <a:xfrm>
            <a:off x="6221542" y="5517232"/>
            <a:ext cx="195000" cy="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" name="Прямая соединительная линия 43"/>
          <p:cNvCxnSpPr/>
          <p:nvPr/>
        </p:nvCxnSpPr>
        <p:spPr bwMode="auto">
          <a:xfrm>
            <a:off x="7509746" y="4869160"/>
            <a:ext cx="195000" cy="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Прямая соединительная линия 44"/>
          <p:cNvCxnSpPr/>
          <p:nvPr/>
        </p:nvCxnSpPr>
        <p:spPr bwMode="auto">
          <a:xfrm>
            <a:off x="6632812" y="5687837"/>
            <a:ext cx="195000" cy="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Прямая соединительная линия 45"/>
          <p:cNvCxnSpPr/>
          <p:nvPr/>
        </p:nvCxnSpPr>
        <p:spPr bwMode="auto">
          <a:xfrm>
            <a:off x="7911121" y="5373216"/>
            <a:ext cx="195000" cy="0"/>
          </a:xfrm>
          <a:prstGeom prst="line">
            <a:avLst/>
          </a:prstGeom>
          <a:pattFill prst="narVert">
            <a:fgClr>
              <a:srgbClr val="FFE4C9"/>
            </a:fgClr>
            <a:bgClr>
              <a:srgbClr val="FFFFFF"/>
            </a:bgClr>
          </a:patt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7" name="TextBox 46"/>
          <p:cNvSpPr txBox="1"/>
          <p:nvPr/>
        </p:nvSpPr>
        <p:spPr>
          <a:xfrm>
            <a:off x="736934" y="3191711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1687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108004" y="3391532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1906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509058" y="3528078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-219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1980415" y="2106195"/>
            <a:ext cx="51441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12671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2407878" y="2438343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5411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2822978" y="2619532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7260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011295" y="3170320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858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398914" y="3384389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963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4806759" y="3539985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-105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5290657" y="2123008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5340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5682825" y="2569624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2893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074461" y="2813197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2447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7249836" y="2885131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621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7630467" y="3249601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1103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8044868" y="3533065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-482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8495575" y="2228266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2247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8919881" y="2831337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2316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9354913" y="3340429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-69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2332420" y="5034268"/>
            <a:ext cx="3984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424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2730886" y="5110757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493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3155495" y="5311349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-68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3626852" y="4725724"/>
            <a:ext cx="4012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886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4003271" y="5112663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1382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413952" y="5343305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-496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5938216" y="5182083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405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6350136" y="5453736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580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6719128" y="5642813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-175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7170486" y="4653716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1583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7618499" y="4884522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886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8024217" y="5034268"/>
            <a:ext cx="4713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800" b="1" dirty="0" smtClean="0">
                <a:solidFill>
                  <a:srgbClr val="000000"/>
                </a:solidFill>
              </a:rPr>
              <a:t>697</a:t>
            </a:r>
            <a:endParaRPr lang="ru-RU" sz="800" b="1" dirty="0">
              <a:solidFill>
                <a:srgbClr val="000000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1052570" y="3707661"/>
            <a:ext cx="64312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800" b="1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2013 г.</a:t>
            </a:r>
            <a:endParaRPr lang="ru-RU" sz="800" b="1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2088645" y="3707661"/>
            <a:ext cx="10701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800" b="1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2030 г. </a:t>
            </a:r>
            <a:endParaRPr lang="ru-RU" sz="800" b="1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308914" y="3713459"/>
            <a:ext cx="64312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800" b="1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2013 г.</a:t>
            </a:r>
            <a:endParaRPr lang="ru-RU" sz="800" b="1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5344988" y="3713459"/>
            <a:ext cx="10701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800" b="1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2030 г. </a:t>
            </a:r>
            <a:endParaRPr lang="ru-RU" sz="800" b="1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7584407" y="3707661"/>
            <a:ext cx="64312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800" b="1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2013 г.</a:t>
            </a:r>
            <a:endParaRPr lang="ru-RU" sz="800" b="1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8620482" y="3707661"/>
            <a:ext cx="10701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800" b="1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2030 г. </a:t>
            </a:r>
            <a:endParaRPr lang="ru-RU" sz="800" b="1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2609723" y="6068202"/>
            <a:ext cx="64312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800" b="1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2013 г.</a:t>
            </a:r>
            <a:endParaRPr lang="ru-RU" sz="800" b="1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3645798" y="6068202"/>
            <a:ext cx="10701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800" b="1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2030 г. </a:t>
            </a:r>
            <a:endParaRPr lang="ru-RU" sz="800" b="1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6201142" y="6068202"/>
            <a:ext cx="64312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800" b="1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2013 г.</a:t>
            </a:r>
            <a:endParaRPr lang="ru-RU" sz="800" b="1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7237217" y="6068202"/>
            <a:ext cx="10701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800" b="1" dirty="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2030 г. </a:t>
            </a:r>
            <a:endParaRPr lang="ru-RU" sz="800" b="1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87" name="Picture 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790" y="1957979"/>
            <a:ext cx="2333133" cy="183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" name="Picture 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0545" y="1957979"/>
            <a:ext cx="2333133" cy="183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" name="Picture 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7471" y="1957979"/>
            <a:ext cx="2333133" cy="183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0" name="Picture 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7633" y="4349971"/>
            <a:ext cx="2333133" cy="183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" name="Picture 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934" y="4331335"/>
            <a:ext cx="2333133" cy="183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" name="Заголовок 2"/>
          <p:cNvSpPr txBox="1">
            <a:spLocks/>
          </p:cNvSpPr>
          <p:nvPr/>
        </p:nvSpPr>
        <p:spPr>
          <a:xfrm>
            <a:off x="392725" y="188680"/>
            <a:ext cx="8006842" cy="759493"/>
          </a:xfrm>
          <a:prstGeom prst="rect">
            <a:avLst/>
          </a:prstGeom>
          <a:noFill/>
        </p:spPr>
        <p:txBody>
          <a:bodyPr lIns="87290" tIns="43644" rIns="87290" bIns="43644"/>
          <a:lstStyle>
            <a:lvl1pPr algn="l" defTabSz="955292" rtl="0" eaLnBrk="0" fontAlgn="base" hangingPunct="0">
              <a:spcBef>
                <a:spcPct val="0"/>
              </a:spcBef>
              <a:spcAft>
                <a:spcPct val="0"/>
              </a:spcAft>
              <a:defRPr kumimoji="0" lang="ru-RU" sz="18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  <a:lvl2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2pPr>
            <a:lvl3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3pPr>
            <a:lvl4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4pPr>
            <a:lvl5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5pPr>
            <a:lvl6pPr marL="436016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6pPr>
            <a:lvl7pPr marL="872029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7pPr>
            <a:lvl8pPr marL="1308043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8pPr>
            <a:lvl9pPr marL="1744064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ru-RU" dirty="0">
                <a:solidFill>
                  <a:srgbClr val="008080"/>
                </a:solidFill>
              </a:rPr>
              <a:t>УСЛОВИЕМ РАЗВИТИЯ НЕФТЕХИМИИ ЯВЛЯЮТСЯ ИМПОРТОЗАМЕЩЕНИЕ И ЗНАЧИТЕЛЬНЫЙ РОСТ ВНУТРЕННЕГО СПРОСА</a:t>
            </a:r>
          </a:p>
        </p:txBody>
      </p:sp>
      <p:sp>
        <p:nvSpPr>
          <p:cNvPr id="93" name="Прямоугольник 92"/>
          <p:cNvSpPr/>
          <p:nvPr/>
        </p:nvSpPr>
        <p:spPr bwMode="auto">
          <a:xfrm>
            <a:off x="289852" y="1636489"/>
            <a:ext cx="3004484" cy="228661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4" name="Прямоугольник 93"/>
          <p:cNvSpPr/>
          <p:nvPr/>
        </p:nvSpPr>
        <p:spPr bwMode="auto">
          <a:xfrm>
            <a:off x="3541334" y="1636489"/>
            <a:ext cx="2999861" cy="228661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5" name="Прямоугольник 94"/>
          <p:cNvSpPr/>
          <p:nvPr/>
        </p:nvSpPr>
        <p:spPr bwMode="auto">
          <a:xfrm>
            <a:off x="6788109" y="1636490"/>
            <a:ext cx="2999861" cy="2286616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6" name="Прямоугольник 95"/>
          <p:cNvSpPr/>
          <p:nvPr/>
        </p:nvSpPr>
        <p:spPr bwMode="auto">
          <a:xfrm>
            <a:off x="1873563" y="4027981"/>
            <a:ext cx="2999861" cy="2281345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7" name="Прямоугольник 96"/>
          <p:cNvSpPr/>
          <p:nvPr/>
        </p:nvSpPr>
        <p:spPr bwMode="auto">
          <a:xfrm>
            <a:off x="5460392" y="4007692"/>
            <a:ext cx="2999861" cy="2301628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4356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5640481"/>
              </p:ext>
            </p:extLst>
          </p:nvPr>
        </p:nvGraphicFramePr>
        <p:xfrm>
          <a:off x="1608" y="162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8" y="162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3736" name="Picture 8" descr="http://www.cosmetics.atmyset.ru/images/time_money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747" y="3951349"/>
            <a:ext cx="3048000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2F66D3-618A-4DE9-A68B-80AA82638281}" type="slidenum">
              <a:rPr lang="ru-RU" smtClean="0"/>
              <a:pPr>
                <a:defRPr/>
              </a:pPr>
              <a:t>3</a:t>
            </a:fld>
            <a:r>
              <a:rPr lang="ru-RU" sz="1200" dirty="0">
                <a:solidFill>
                  <a:srgbClr val="808080"/>
                </a:solidFill>
              </a:rPr>
              <a:t>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44499" y="1231583"/>
            <a:ext cx="10883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ЗАЧЕМ?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712754" y="3753429"/>
            <a:ext cx="38802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А МОЖЕМ ЛИ ЭТО ПОСТРОИТЬ?</a:t>
            </a:r>
            <a:endParaRPr lang="ru-RU" dirty="0"/>
          </a:p>
        </p:txBody>
      </p:sp>
      <p:pic>
        <p:nvPicPr>
          <p:cNvPr id="73732" name="Picture 4" descr="http://arina-potolki.ru/images/stories/roof1/voprosi-i-otveti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576" y="1277738"/>
            <a:ext cx="1705308" cy="2236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734" name="Picture 6" descr="http://www.imetod.com/uploads/image/3dstickfigures093-800x4791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4928" y="1050707"/>
            <a:ext cx="4493140" cy="2690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4880992" y="836712"/>
            <a:ext cx="21775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КТО КРОМЕ НАС?</a:t>
            </a:r>
            <a:endParaRPr lang="ru-RU" dirty="0"/>
          </a:p>
        </p:txBody>
      </p:sp>
      <p:sp>
        <p:nvSpPr>
          <p:cNvPr id="5" name="AutoShape 12" descr="https://encrypted-tbn0.gstatic.com/images?q=tbn:ANd9GcSGujIZtDggJiGObF2OoBUUoZ0kt3jd9unX4149FCAfYzIt0Vem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AutoShape 14" descr="https://encrypted-tbn0.gstatic.com/images?q=tbn:ANd9GcSGujIZtDggJiGObF2OoBUUoZ0kt3jd9unX4149FCAfYzIt0Vem"/>
          <p:cNvSpPr>
            <a:spLocks noChangeAspect="1" noChangeArrowheads="1"/>
          </p:cNvSpPr>
          <p:nvPr/>
        </p:nvSpPr>
        <p:spPr bwMode="auto">
          <a:xfrm>
            <a:off x="307976" y="7975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73743" name="Picture 15" descr="C:\Users\NovikovIV\Desktop\images.jpg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78"/>
          <a:stretch/>
        </p:blipFill>
        <p:spPr bwMode="auto">
          <a:xfrm>
            <a:off x="6393160" y="4149029"/>
            <a:ext cx="1847850" cy="2319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5882880" y="3923764"/>
            <a:ext cx="38946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А КТО ЭТО «СЪЕСТ» В ДОЛГУЮ?</a:t>
            </a:r>
            <a:endParaRPr lang="ru-RU" dirty="0"/>
          </a:p>
        </p:txBody>
      </p:sp>
      <p:sp>
        <p:nvSpPr>
          <p:cNvPr id="17" name="Заголовок 2"/>
          <p:cNvSpPr txBox="1">
            <a:spLocks/>
          </p:cNvSpPr>
          <p:nvPr/>
        </p:nvSpPr>
        <p:spPr>
          <a:xfrm>
            <a:off x="392725" y="188680"/>
            <a:ext cx="8006842" cy="759493"/>
          </a:xfrm>
          <a:prstGeom prst="rect">
            <a:avLst/>
          </a:prstGeom>
          <a:noFill/>
        </p:spPr>
        <p:txBody>
          <a:bodyPr lIns="87290" tIns="43644" rIns="87290" bIns="43644"/>
          <a:lstStyle>
            <a:lvl1pPr algn="l" defTabSz="955292" rtl="0" eaLnBrk="0" fontAlgn="base" hangingPunct="0">
              <a:spcBef>
                <a:spcPct val="0"/>
              </a:spcBef>
              <a:spcAft>
                <a:spcPct val="0"/>
              </a:spcAft>
              <a:defRPr kumimoji="0" lang="ru-RU" sz="18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  <a:lvl2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2pPr>
            <a:lvl3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3pPr>
            <a:lvl4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4pPr>
            <a:lvl5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5pPr>
            <a:lvl6pPr marL="436016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6pPr>
            <a:lvl7pPr marL="872029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7pPr>
            <a:lvl8pPr marL="1308043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8pPr>
            <a:lvl9pPr marL="1744064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008080"/>
                </a:solidFill>
              </a:rPr>
              <a:t>ВОПРОСЫ ИНВЕСТОРА</a:t>
            </a:r>
            <a:endParaRPr lang="ru-RU" dirty="0">
              <a:solidFill>
                <a:srgbClr val="0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5866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dissolve/>
      </p:transition>
    </mc:Choice>
    <mc:Fallback xmlns="">
      <p:transition>
        <p:dissolv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Объект 4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950803"/>
              </p:ext>
            </p:extLst>
          </p:nvPr>
        </p:nvGraphicFramePr>
        <p:xfrm>
          <a:off x="1608" y="162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8" y="162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Группа 28"/>
          <p:cNvGrpSpPr/>
          <p:nvPr/>
        </p:nvGrpSpPr>
        <p:grpSpPr>
          <a:xfrm rot="377890">
            <a:off x="1073404" y="619060"/>
            <a:ext cx="7720012" cy="5367190"/>
            <a:chOff x="677863" y="939800"/>
            <a:chExt cx="7720012" cy="5367190"/>
          </a:xfrm>
        </p:grpSpPr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2444750" y="2776538"/>
              <a:ext cx="1812925" cy="2028387"/>
            </a:xfrm>
            <a:custGeom>
              <a:avLst/>
              <a:gdLst>
                <a:gd name="T0" fmla="*/ 424 w 1119"/>
                <a:gd name="T1" fmla="*/ 1186 h 1269"/>
                <a:gd name="T2" fmla="*/ 248 w 1119"/>
                <a:gd name="T3" fmla="*/ 1194 h 1269"/>
                <a:gd name="T4" fmla="*/ 121 w 1119"/>
                <a:gd name="T5" fmla="*/ 1172 h 1269"/>
                <a:gd name="T6" fmla="*/ 64 w 1119"/>
                <a:gd name="T7" fmla="*/ 1269 h 1269"/>
                <a:gd name="T8" fmla="*/ 0 w 1119"/>
                <a:gd name="T9" fmla="*/ 1236 h 1269"/>
                <a:gd name="T10" fmla="*/ 102 w 1119"/>
                <a:gd name="T11" fmla="*/ 1104 h 1269"/>
                <a:gd name="T12" fmla="*/ 54 w 1119"/>
                <a:gd name="T13" fmla="*/ 1045 h 1269"/>
                <a:gd name="T14" fmla="*/ 70 w 1119"/>
                <a:gd name="T15" fmla="*/ 999 h 1269"/>
                <a:gd name="T16" fmla="*/ 115 w 1119"/>
                <a:gd name="T17" fmla="*/ 908 h 1269"/>
                <a:gd name="T18" fmla="*/ 197 w 1119"/>
                <a:gd name="T19" fmla="*/ 856 h 1269"/>
                <a:gd name="T20" fmla="*/ 181 w 1119"/>
                <a:gd name="T21" fmla="*/ 796 h 1269"/>
                <a:gd name="T22" fmla="*/ 296 w 1119"/>
                <a:gd name="T23" fmla="*/ 635 h 1269"/>
                <a:gd name="T24" fmla="*/ 354 w 1119"/>
                <a:gd name="T25" fmla="*/ 516 h 1269"/>
                <a:gd name="T26" fmla="*/ 379 w 1119"/>
                <a:gd name="T27" fmla="*/ 457 h 1269"/>
                <a:gd name="T28" fmla="*/ 428 w 1119"/>
                <a:gd name="T29" fmla="*/ 457 h 1269"/>
                <a:gd name="T30" fmla="*/ 461 w 1119"/>
                <a:gd name="T31" fmla="*/ 448 h 1269"/>
                <a:gd name="T32" fmla="*/ 535 w 1119"/>
                <a:gd name="T33" fmla="*/ 398 h 1269"/>
                <a:gd name="T34" fmla="*/ 609 w 1119"/>
                <a:gd name="T35" fmla="*/ 338 h 1269"/>
                <a:gd name="T36" fmla="*/ 617 w 1119"/>
                <a:gd name="T37" fmla="*/ 288 h 1269"/>
                <a:gd name="T38" fmla="*/ 609 w 1119"/>
                <a:gd name="T39" fmla="*/ 254 h 1269"/>
                <a:gd name="T40" fmla="*/ 675 w 1119"/>
                <a:gd name="T41" fmla="*/ 313 h 1269"/>
                <a:gd name="T42" fmla="*/ 675 w 1119"/>
                <a:gd name="T43" fmla="*/ 211 h 1269"/>
                <a:gd name="T44" fmla="*/ 699 w 1119"/>
                <a:gd name="T45" fmla="*/ 186 h 1269"/>
                <a:gd name="T46" fmla="*/ 740 w 1119"/>
                <a:gd name="T47" fmla="*/ 84 h 1269"/>
                <a:gd name="T48" fmla="*/ 822 w 1119"/>
                <a:gd name="T49" fmla="*/ 17 h 1269"/>
                <a:gd name="T50" fmla="*/ 872 w 1119"/>
                <a:gd name="T51" fmla="*/ 59 h 1269"/>
                <a:gd name="T52" fmla="*/ 831 w 1119"/>
                <a:gd name="T53" fmla="*/ 186 h 1269"/>
                <a:gd name="T54" fmla="*/ 822 w 1119"/>
                <a:gd name="T55" fmla="*/ 346 h 1269"/>
                <a:gd name="T56" fmla="*/ 716 w 1119"/>
                <a:gd name="T57" fmla="*/ 448 h 1269"/>
                <a:gd name="T58" fmla="*/ 675 w 1119"/>
                <a:gd name="T59" fmla="*/ 448 h 1269"/>
                <a:gd name="T60" fmla="*/ 790 w 1119"/>
                <a:gd name="T61" fmla="*/ 448 h 1269"/>
                <a:gd name="T62" fmla="*/ 839 w 1119"/>
                <a:gd name="T63" fmla="*/ 330 h 1269"/>
                <a:gd name="T64" fmla="*/ 897 w 1119"/>
                <a:gd name="T65" fmla="*/ 372 h 1269"/>
                <a:gd name="T66" fmla="*/ 921 w 1119"/>
                <a:gd name="T67" fmla="*/ 448 h 1269"/>
                <a:gd name="T68" fmla="*/ 913 w 1119"/>
                <a:gd name="T69" fmla="*/ 398 h 1269"/>
                <a:gd name="T70" fmla="*/ 897 w 1119"/>
                <a:gd name="T71" fmla="*/ 296 h 1269"/>
                <a:gd name="T72" fmla="*/ 839 w 1119"/>
                <a:gd name="T73" fmla="*/ 262 h 1269"/>
                <a:gd name="T74" fmla="*/ 864 w 1119"/>
                <a:gd name="T75" fmla="*/ 127 h 1269"/>
                <a:gd name="T76" fmla="*/ 905 w 1119"/>
                <a:gd name="T77" fmla="*/ 42 h 1269"/>
                <a:gd name="T78" fmla="*/ 913 w 1119"/>
                <a:gd name="T79" fmla="*/ 161 h 1269"/>
                <a:gd name="T80" fmla="*/ 954 w 1119"/>
                <a:gd name="T81" fmla="*/ 161 h 1269"/>
                <a:gd name="T82" fmla="*/ 963 w 1119"/>
                <a:gd name="T83" fmla="*/ 127 h 1269"/>
                <a:gd name="T84" fmla="*/ 979 w 1119"/>
                <a:gd name="T85" fmla="*/ 67 h 1269"/>
                <a:gd name="T86" fmla="*/ 1020 w 1119"/>
                <a:gd name="T87" fmla="*/ 144 h 1269"/>
                <a:gd name="T88" fmla="*/ 1020 w 1119"/>
                <a:gd name="T89" fmla="*/ 203 h 1269"/>
                <a:gd name="T90" fmla="*/ 971 w 1119"/>
                <a:gd name="T91" fmla="*/ 262 h 1269"/>
                <a:gd name="T92" fmla="*/ 1004 w 1119"/>
                <a:gd name="T93" fmla="*/ 330 h 1269"/>
                <a:gd name="T94" fmla="*/ 1053 w 1119"/>
                <a:gd name="T95" fmla="*/ 398 h 1269"/>
                <a:gd name="T96" fmla="*/ 1036 w 1119"/>
                <a:gd name="T97" fmla="*/ 457 h 1269"/>
                <a:gd name="T98" fmla="*/ 1053 w 1119"/>
                <a:gd name="T99" fmla="*/ 516 h 1269"/>
                <a:gd name="T100" fmla="*/ 1077 w 1119"/>
                <a:gd name="T101" fmla="*/ 592 h 1269"/>
                <a:gd name="T102" fmla="*/ 1110 w 1119"/>
                <a:gd name="T103" fmla="*/ 652 h 1269"/>
                <a:gd name="T104" fmla="*/ 1086 w 1119"/>
                <a:gd name="T105" fmla="*/ 728 h 1269"/>
                <a:gd name="T106" fmla="*/ 1069 w 1119"/>
                <a:gd name="T107" fmla="*/ 821 h 1269"/>
                <a:gd name="T108" fmla="*/ 1086 w 1119"/>
                <a:gd name="T109" fmla="*/ 871 h 1269"/>
                <a:gd name="T110" fmla="*/ 1053 w 1119"/>
                <a:gd name="T111" fmla="*/ 923 h 1269"/>
                <a:gd name="T112" fmla="*/ 1014 w 1119"/>
                <a:gd name="T113" fmla="*/ 919 h 1269"/>
                <a:gd name="T114" fmla="*/ 870 w 1119"/>
                <a:gd name="T115" fmla="*/ 911 h 1269"/>
                <a:gd name="T116" fmla="*/ 755 w 1119"/>
                <a:gd name="T117" fmla="*/ 988 h 1269"/>
                <a:gd name="T118" fmla="*/ 646 w 1119"/>
                <a:gd name="T119" fmla="*/ 1055 h 1269"/>
                <a:gd name="T120" fmla="*/ 571 w 1119"/>
                <a:gd name="T121" fmla="*/ 1013 h 1269"/>
                <a:gd name="T122" fmla="*/ 566 w 1119"/>
                <a:gd name="T123" fmla="*/ 1140 h 1269"/>
                <a:gd name="T124" fmla="*/ 501 w 1119"/>
                <a:gd name="T125" fmla="*/ 1208 h 1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19" h="1269">
                  <a:moveTo>
                    <a:pt x="502" y="1210"/>
                  </a:moveTo>
                  <a:lnTo>
                    <a:pt x="502" y="1210"/>
                  </a:lnTo>
                  <a:lnTo>
                    <a:pt x="461" y="1202"/>
                  </a:lnTo>
                  <a:lnTo>
                    <a:pt x="424" y="1186"/>
                  </a:lnTo>
                  <a:lnTo>
                    <a:pt x="387" y="1205"/>
                  </a:lnTo>
                  <a:lnTo>
                    <a:pt x="296" y="1192"/>
                  </a:lnTo>
                  <a:lnTo>
                    <a:pt x="273" y="1221"/>
                  </a:lnTo>
                  <a:lnTo>
                    <a:pt x="248" y="1194"/>
                  </a:lnTo>
                  <a:lnTo>
                    <a:pt x="208" y="1192"/>
                  </a:lnTo>
                  <a:lnTo>
                    <a:pt x="205" y="1186"/>
                  </a:lnTo>
                  <a:lnTo>
                    <a:pt x="152" y="1184"/>
                  </a:lnTo>
                  <a:lnTo>
                    <a:pt x="121" y="1172"/>
                  </a:lnTo>
                  <a:lnTo>
                    <a:pt x="107" y="1212"/>
                  </a:lnTo>
                  <a:lnTo>
                    <a:pt x="126" y="1253"/>
                  </a:lnTo>
                  <a:lnTo>
                    <a:pt x="70" y="1244"/>
                  </a:lnTo>
                  <a:lnTo>
                    <a:pt x="64" y="1269"/>
                  </a:lnTo>
                  <a:lnTo>
                    <a:pt x="33" y="1269"/>
                  </a:lnTo>
                  <a:lnTo>
                    <a:pt x="43" y="1253"/>
                  </a:lnTo>
                  <a:lnTo>
                    <a:pt x="29" y="1239"/>
                  </a:lnTo>
                  <a:lnTo>
                    <a:pt x="0" y="1236"/>
                  </a:lnTo>
                  <a:lnTo>
                    <a:pt x="1" y="1207"/>
                  </a:lnTo>
                  <a:lnTo>
                    <a:pt x="46" y="1138"/>
                  </a:lnTo>
                  <a:lnTo>
                    <a:pt x="75" y="1138"/>
                  </a:lnTo>
                  <a:lnTo>
                    <a:pt x="102" y="1104"/>
                  </a:lnTo>
                  <a:lnTo>
                    <a:pt x="35" y="1103"/>
                  </a:lnTo>
                  <a:lnTo>
                    <a:pt x="6" y="1052"/>
                  </a:lnTo>
                  <a:lnTo>
                    <a:pt x="21" y="1034"/>
                  </a:lnTo>
                  <a:lnTo>
                    <a:pt x="54" y="1045"/>
                  </a:lnTo>
                  <a:lnTo>
                    <a:pt x="45" y="1064"/>
                  </a:lnTo>
                  <a:lnTo>
                    <a:pt x="120" y="1056"/>
                  </a:lnTo>
                  <a:lnTo>
                    <a:pt x="117" y="1013"/>
                  </a:lnTo>
                  <a:lnTo>
                    <a:pt x="70" y="999"/>
                  </a:lnTo>
                  <a:lnTo>
                    <a:pt x="51" y="970"/>
                  </a:lnTo>
                  <a:lnTo>
                    <a:pt x="75" y="936"/>
                  </a:lnTo>
                  <a:lnTo>
                    <a:pt x="110" y="932"/>
                  </a:lnTo>
                  <a:lnTo>
                    <a:pt x="115" y="908"/>
                  </a:lnTo>
                  <a:lnTo>
                    <a:pt x="147" y="903"/>
                  </a:lnTo>
                  <a:lnTo>
                    <a:pt x="157" y="882"/>
                  </a:lnTo>
                  <a:lnTo>
                    <a:pt x="193" y="869"/>
                  </a:lnTo>
                  <a:lnTo>
                    <a:pt x="197" y="856"/>
                  </a:lnTo>
                  <a:lnTo>
                    <a:pt x="184" y="847"/>
                  </a:lnTo>
                  <a:lnTo>
                    <a:pt x="192" y="836"/>
                  </a:lnTo>
                  <a:lnTo>
                    <a:pt x="189" y="810"/>
                  </a:lnTo>
                  <a:lnTo>
                    <a:pt x="181" y="796"/>
                  </a:lnTo>
                  <a:lnTo>
                    <a:pt x="190" y="778"/>
                  </a:lnTo>
                  <a:lnTo>
                    <a:pt x="262" y="728"/>
                  </a:lnTo>
                  <a:lnTo>
                    <a:pt x="265" y="668"/>
                  </a:lnTo>
                  <a:lnTo>
                    <a:pt x="296" y="635"/>
                  </a:lnTo>
                  <a:lnTo>
                    <a:pt x="313" y="592"/>
                  </a:lnTo>
                  <a:lnTo>
                    <a:pt x="322" y="542"/>
                  </a:lnTo>
                  <a:lnTo>
                    <a:pt x="338" y="533"/>
                  </a:lnTo>
                  <a:lnTo>
                    <a:pt x="354" y="516"/>
                  </a:lnTo>
                  <a:lnTo>
                    <a:pt x="354" y="499"/>
                  </a:lnTo>
                  <a:lnTo>
                    <a:pt x="354" y="474"/>
                  </a:lnTo>
                  <a:lnTo>
                    <a:pt x="370" y="465"/>
                  </a:lnTo>
                  <a:lnTo>
                    <a:pt x="379" y="457"/>
                  </a:lnTo>
                  <a:lnTo>
                    <a:pt x="395" y="465"/>
                  </a:lnTo>
                  <a:lnTo>
                    <a:pt x="411" y="465"/>
                  </a:lnTo>
                  <a:lnTo>
                    <a:pt x="420" y="465"/>
                  </a:lnTo>
                  <a:lnTo>
                    <a:pt x="428" y="457"/>
                  </a:lnTo>
                  <a:lnTo>
                    <a:pt x="437" y="440"/>
                  </a:lnTo>
                  <a:lnTo>
                    <a:pt x="445" y="440"/>
                  </a:lnTo>
                  <a:lnTo>
                    <a:pt x="452" y="440"/>
                  </a:lnTo>
                  <a:lnTo>
                    <a:pt x="461" y="448"/>
                  </a:lnTo>
                  <a:lnTo>
                    <a:pt x="461" y="440"/>
                  </a:lnTo>
                  <a:lnTo>
                    <a:pt x="494" y="415"/>
                  </a:lnTo>
                  <a:lnTo>
                    <a:pt x="519" y="398"/>
                  </a:lnTo>
                  <a:lnTo>
                    <a:pt x="535" y="398"/>
                  </a:lnTo>
                  <a:lnTo>
                    <a:pt x="560" y="389"/>
                  </a:lnTo>
                  <a:lnTo>
                    <a:pt x="584" y="372"/>
                  </a:lnTo>
                  <a:lnTo>
                    <a:pt x="617" y="346"/>
                  </a:lnTo>
                  <a:lnTo>
                    <a:pt x="609" y="338"/>
                  </a:lnTo>
                  <a:lnTo>
                    <a:pt x="609" y="321"/>
                  </a:lnTo>
                  <a:lnTo>
                    <a:pt x="609" y="304"/>
                  </a:lnTo>
                  <a:lnTo>
                    <a:pt x="609" y="288"/>
                  </a:lnTo>
                  <a:lnTo>
                    <a:pt x="617" y="288"/>
                  </a:lnTo>
                  <a:lnTo>
                    <a:pt x="617" y="279"/>
                  </a:lnTo>
                  <a:lnTo>
                    <a:pt x="625" y="262"/>
                  </a:lnTo>
                  <a:lnTo>
                    <a:pt x="617" y="262"/>
                  </a:lnTo>
                  <a:lnTo>
                    <a:pt x="609" y="254"/>
                  </a:lnTo>
                  <a:lnTo>
                    <a:pt x="617" y="245"/>
                  </a:lnTo>
                  <a:lnTo>
                    <a:pt x="625" y="236"/>
                  </a:lnTo>
                  <a:lnTo>
                    <a:pt x="651" y="279"/>
                  </a:lnTo>
                  <a:lnTo>
                    <a:pt x="675" y="313"/>
                  </a:lnTo>
                  <a:lnTo>
                    <a:pt x="692" y="304"/>
                  </a:lnTo>
                  <a:lnTo>
                    <a:pt x="708" y="288"/>
                  </a:lnTo>
                  <a:lnTo>
                    <a:pt x="692" y="254"/>
                  </a:lnTo>
                  <a:lnTo>
                    <a:pt x="675" y="211"/>
                  </a:lnTo>
                  <a:lnTo>
                    <a:pt x="666" y="203"/>
                  </a:lnTo>
                  <a:lnTo>
                    <a:pt x="666" y="186"/>
                  </a:lnTo>
                  <a:lnTo>
                    <a:pt x="683" y="186"/>
                  </a:lnTo>
                  <a:lnTo>
                    <a:pt x="699" y="186"/>
                  </a:lnTo>
                  <a:lnTo>
                    <a:pt x="699" y="144"/>
                  </a:lnTo>
                  <a:lnTo>
                    <a:pt x="699" y="101"/>
                  </a:lnTo>
                  <a:lnTo>
                    <a:pt x="716" y="92"/>
                  </a:lnTo>
                  <a:lnTo>
                    <a:pt x="740" y="84"/>
                  </a:lnTo>
                  <a:lnTo>
                    <a:pt x="774" y="42"/>
                  </a:lnTo>
                  <a:lnTo>
                    <a:pt x="807" y="0"/>
                  </a:lnTo>
                  <a:lnTo>
                    <a:pt x="815" y="8"/>
                  </a:lnTo>
                  <a:lnTo>
                    <a:pt x="822" y="17"/>
                  </a:lnTo>
                  <a:lnTo>
                    <a:pt x="839" y="25"/>
                  </a:lnTo>
                  <a:lnTo>
                    <a:pt x="856" y="25"/>
                  </a:lnTo>
                  <a:lnTo>
                    <a:pt x="864" y="42"/>
                  </a:lnTo>
                  <a:lnTo>
                    <a:pt x="872" y="59"/>
                  </a:lnTo>
                  <a:lnTo>
                    <a:pt x="848" y="84"/>
                  </a:lnTo>
                  <a:lnTo>
                    <a:pt x="831" y="101"/>
                  </a:lnTo>
                  <a:lnTo>
                    <a:pt x="831" y="144"/>
                  </a:lnTo>
                  <a:lnTo>
                    <a:pt x="831" y="186"/>
                  </a:lnTo>
                  <a:lnTo>
                    <a:pt x="815" y="236"/>
                  </a:lnTo>
                  <a:lnTo>
                    <a:pt x="798" y="279"/>
                  </a:lnTo>
                  <a:lnTo>
                    <a:pt x="807" y="313"/>
                  </a:lnTo>
                  <a:lnTo>
                    <a:pt x="822" y="346"/>
                  </a:lnTo>
                  <a:lnTo>
                    <a:pt x="790" y="381"/>
                  </a:lnTo>
                  <a:lnTo>
                    <a:pt x="765" y="406"/>
                  </a:lnTo>
                  <a:lnTo>
                    <a:pt x="740" y="431"/>
                  </a:lnTo>
                  <a:lnTo>
                    <a:pt x="716" y="448"/>
                  </a:lnTo>
                  <a:lnTo>
                    <a:pt x="692" y="440"/>
                  </a:lnTo>
                  <a:lnTo>
                    <a:pt x="675" y="423"/>
                  </a:lnTo>
                  <a:lnTo>
                    <a:pt x="675" y="440"/>
                  </a:lnTo>
                  <a:lnTo>
                    <a:pt x="675" y="448"/>
                  </a:lnTo>
                  <a:lnTo>
                    <a:pt x="699" y="465"/>
                  </a:lnTo>
                  <a:lnTo>
                    <a:pt x="724" y="482"/>
                  </a:lnTo>
                  <a:lnTo>
                    <a:pt x="757" y="465"/>
                  </a:lnTo>
                  <a:lnTo>
                    <a:pt x="790" y="448"/>
                  </a:lnTo>
                  <a:lnTo>
                    <a:pt x="815" y="415"/>
                  </a:lnTo>
                  <a:lnTo>
                    <a:pt x="848" y="381"/>
                  </a:lnTo>
                  <a:lnTo>
                    <a:pt x="839" y="355"/>
                  </a:lnTo>
                  <a:lnTo>
                    <a:pt x="839" y="330"/>
                  </a:lnTo>
                  <a:lnTo>
                    <a:pt x="856" y="330"/>
                  </a:lnTo>
                  <a:lnTo>
                    <a:pt x="872" y="321"/>
                  </a:lnTo>
                  <a:lnTo>
                    <a:pt x="880" y="346"/>
                  </a:lnTo>
                  <a:lnTo>
                    <a:pt x="897" y="372"/>
                  </a:lnTo>
                  <a:lnTo>
                    <a:pt x="889" y="389"/>
                  </a:lnTo>
                  <a:lnTo>
                    <a:pt x="889" y="406"/>
                  </a:lnTo>
                  <a:lnTo>
                    <a:pt x="905" y="431"/>
                  </a:lnTo>
                  <a:lnTo>
                    <a:pt x="921" y="448"/>
                  </a:lnTo>
                  <a:lnTo>
                    <a:pt x="930" y="440"/>
                  </a:lnTo>
                  <a:lnTo>
                    <a:pt x="946" y="431"/>
                  </a:lnTo>
                  <a:lnTo>
                    <a:pt x="930" y="415"/>
                  </a:lnTo>
                  <a:lnTo>
                    <a:pt x="913" y="398"/>
                  </a:lnTo>
                  <a:lnTo>
                    <a:pt x="921" y="372"/>
                  </a:lnTo>
                  <a:lnTo>
                    <a:pt x="930" y="346"/>
                  </a:lnTo>
                  <a:lnTo>
                    <a:pt x="913" y="321"/>
                  </a:lnTo>
                  <a:lnTo>
                    <a:pt x="897" y="296"/>
                  </a:lnTo>
                  <a:lnTo>
                    <a:pt x="864" y="296"/>
                  </a:lnTo>
                  <a:lnTo>
                    <a:pt x="839" y="296"/>
                  </a:lnTo>
                  <a:lnTo>
                    <a:pt x="839" y="279"/>
                  </a:lnTo>
                  <a:lnTo>
                    <a:pt x="839" y="262"/>
                  </a:lnTo>
                  <a:lnTo>
                    <a:pt x="856" y="228"/>
                  </a:lnTo>
                  <a:lnTo>
                    <a:pt x="872" y="186"/>
                  </a:lnTo>
                  <a:lnTo>
                    <a:pt x="864" y="161"/>
                  </a:lnTo>
                  <a:lnTo>
                    <a:pt x="864" y="127"/>
                  </a:lnTo>
                  <a:lnTo>
                    <a:pt x="880" y="109"/>
                  </a:lnTo>
                  <a:lnTo>
                    <a:pt x="897" y="92"/>
                  </a:lnTo>
                  <a:lnTo>
                    <a:pt x="897" y="67"/>
                  </a:lnTo>
                  <a:lnTo>
                    <a:pt x="905" y="42"/>
                  </a:lnTo>
                  <a:lnTo>
                    <a:pt x="905" y="76"/>
                  </a:lnTo>
                  <a:lnTo>
                    <a:pt x="913" y="109"/>
                  </a:lnTo>
                  <a:lnTo>
                    <a:pt x="913" y="135"/>
                  </a:lnTo>
                  <a:lnTo>
                    <a:pt x="913" y="161"/>
                  </a:lnTo>
                  <a:lnTo>
                    <a:pt x="930" y="169"/>
                  </a:lnTo>
                  <a:lnTo>
                    <a:pt x="946" y="177"/>
                  </a:lnTo>
                  <a:lnTo>
                    <a:pt x="946" y="169"/>
                  </a:lnTo>
                  <a:lnTo>
                    <a:pt x="954" y="161"/>
                  </a:lnTo>
                  <a:lnTo>
                    <a:pt x="938" y="144"/>
                  </a:lnTo>
                  <a:lnTo>
                    <a:pt x="930" y="118"/>
                  </a:lnTo>
                  <a:lnTo>
                    <a:pt x="946" y="127"/>
                  </a:lnTo>
                  <a:lnTo>
                    <a:pt x="963" y="127"/>
                  </a:lnTo>
                  <a:lnTo>
                    <a:pt x="963" y="101"/>
                  </a:lnTo>
                  <a:lnTo>
                    <a:pt x="963" y="76"/>
                  </a:lnTo>
                  <a:lnTo>
                    <a:pt x="971" y="76"/>
                  </a:lnTo>
                  <a:lnTo>
                    <a:pt x="979" y="67"/>
                  </a:lnTo>
                  <a:lnTo>
                    <a:pt x="979" y="84"/>
                  </a:lnTo>
                  <a:lnTo>
                    <a:pt x="979" y="101"/>
                  </a:lnTo>
                  <a:lnTo>
                    <a:pt x="995" y="127"/>
                  </a:lnTo>
                  <a:lnTo>
                    <a:pt x="1020" y="144"/>
                  </a:lnTo>
                  <a:lnTo>
                    <a:pt x="1004" y="152"/>
                  </a:lnTo>
                  <a:lnTo>
                    <a:pt x="987" y="161"/>
                  </a:lnTo>
                  <a:lnTo>
                    <a:pt x="1004" y="186"/>
                  </a:lnTo>
                  <a:lnTo>
                    <a:pt x="1020" y="203"/>
                  </a:lnTo>
                  <a:lnTo>
                    <a:pt x="1020" y="219"/>
                  </a:lnTo>
                  <a:lnTo>
                    <a:pt x="1028" y="228"/>
                  </a:lnTo>
                  <a:lnTo>
                    <a:pt x="995" y="245"/>
                  </a:lnTo>
                  <a:lnTo>
                    <a:pt x="971" y="262"/>
                  </a:lnTo>
                  <a:lnTo>
                    <a:pt x="971" y="279"/>
                  </a:lnTo>
                  <a:lnTo>
                    <a:pt x="979" y="288"/>
                  </a:lnTo>
                  <a:lnTo>
                    <a:pt x="987" y="313"/>
                  </a:lnTo>
                  <a:lnTo>
                    <a:pt x="1004" y="330"/>
                  </a:lnTo>
                  <a:lnTo>
                    <a:pt x="1020" y="330"/>
                  </a:lnTo>
                  <a:lnTo>
                    <a:pt x="1045" y="330"/>
                  </a:lnTo>
                  <a:lnTo>
                    <a:pt x="1045" y="363"/>
                  </a:lnTo>
                  <a:lnTo>
                    <a:pt x="1053" y="398"/>
                  </a:lnTo>
                  <a:lnTo>
                    <a:pt x="1036" y="415"/>
                  </a:lnTo>
                  <a:lnTo>
                    <a:pt x="1020" y="423"/>
                  </a:lnTo>
                  <a:lnTo>
                    <a:pt x="1028" y="440"/>
                  </a:lnTo>
                  <a:lnTo>
                    <a:pt x="1036" y="457"/>
                  </a:lnTo>
                  <a:lnTo>
                    <a:pt x="1028" y="474"/>
                  </a:lnTo>
                  <a:lnTo>
                    <a:pt x="1028" y="482"/>
                  </a:lnTo>
                  <a:lnTo>
                    <a:pt x="1036" y="499"/>
                  </a:lnTo>
                  <a:lnTo>
                    <a:pt x="1053" y="516"/>
                  </a:lnTo>
                  <a:lnTo>
                    <a:pt x="1045" y="542"/>
                  </a:lnTo>
                  <a:lnTo>
                    <a:pt x="1045" y="567"/>
                  </a:lnTo>
                  <a:lnTo>
                    <a:pt x="1062" y="584"/>
                  </a:lnTo>
                  <a:lnTo>
                    <a:pt x="1077" y="592"/>
                  </a:lnTo>
                  <a:lnTo>
                    <a:pt x="1069" y="617"/>
                  </a:lnTo>
                  <a:lnTo>
                    <a:pt x="1069" y="635"/>
                  </a:lnTo>
                  <a:lnTo>
                    <a:pt x="1086" y="643"/>
                  </a:lnTo>
                  <a:lnTo>
                    <a:pt x="1110" y="652"/>
                  </a:lnTo>
                  <a:lnTo>
                    <a:pt x="1110" y="677"/>
                  </a:lnTo>
                  <a:lnTo>
                    <a:pt x="1119" y="694"/>
                  </a:lnTo>
                  <a:lnTo>
                    <a:pt x="1103" y="711"/>
                  </a:lnTo>
                  <a:lnTo>
                    <a:pt x="1086" y="728"/>
                  </a:lnTo>
                  <a:lnTo>
                    <a:pt x="1094" y="754"/>
                  </a:lnTo>
                  <a:lnTo>
                    <a:pt x="1103" y="770"/>
                  </a:lnTo>
                  <a:lnTo>
                    <a:pt x="1086" y="796"/>
                  </a:lnTo>
                  <a:lnTo>
                    <a:pt x="1069" y="821"/>
                  </a:lnTo>
                  <a:lnTo>
                    <a:pt x="1062" y="821"/>
                  </a:lnTo>
                  <a:lnTo>
                    <a:pt x="1053" y="829"/>
                  </a:lnTo>
                  <a:lnTo>
                    <a:pt x="1062" y="846"/>
                  </a:lnTo>
                  <a:lnTo>
                    <a:pt x="1086" y="871"/>
                  </a:lnTo>
                  <a:lnTo>
                    <a:pt x="1105" y="876"/>
                  </a:lnTo>
                  <a:lnTo>
                    <a:pt x="1103" y="898"/>
                  </a:lnTo>
                  <a:lnTo>
                    <a:pt x="1077" y="914"/>
                  </a:lnTo>
                  <a:lnTo>
                    <a:pt x="1053" y="923"/>
                  </a:lnTo>
                  <a:lnTo>
                    <a:pt x="1053" y="931"/>
                  </a:lnTo>
                  <a:lnTo>
                    <a:pt x="1053" y="940"/>
                  </a:lnTo>
                  <a:lnTo>
                    <a:pt x="1053" y="948"/>
                  </a:lnTo>
                  <a:lnTo>
                    <a:pt x="1014" y="919"/>
                  </a:lnTo>
                  <a:lnTo>
                    <a:pt x="974" y="951"/>
                  </a:lnTo>
                  <a:lnTo>
                    <a:pt x="928" y="932"/>
                  </a:lnTo>
                  <a:lnTo>
                    <a:pt x="893" y="930"/>
                  </a:lnTo>
                  <a:lnTo>
                    <a:pt x="870" y="911"/>
                  </a:lnTo>
                  <a:lnTo>
                    <a:pt x="813" y="911"/>
                  </a:lnTo>
                  <a:lnTo>
                    <a:pt x="784" y="954"/>
                  </a:lnTo>
                  <a:lnTo>
                    <a:pt x="797" y="978"/>
                  </a:lnTo>
                  <a:lnTo>
                    <a:pt x="755" y="988"/>
                  </a:lnTo>
                  <a:lnTo>
                    <a:pt x="736" y="1023"/>
                  </a:lnTo>
                  <a:lnTo>
                    <a:pt x="709" y="1042"/>
                  </a:lnTo>
                  <a:lnTo>
                    <a:pt x="670" y="1072"/>
                  </a:lnTo>
                  <a:lnTo>
                    <a:pt x="646" y="1055"/>
                  </a:lnTo>
                  <a:lnTo>
                    <a:pt x="633" y="1071"/>
                  </a:lnTo>
                  <a:lnTo>
                    <a:pt x="584" y="1058"/>
                  </a:lnTo>
                  <a:lnTo>
                    <a:pt x="584" y="1024"/>
                  </a:lnTo>
                  <a:lnTo>
                    <a:pt x="571" y="1013"/>
                  </a:lnTo>
                  <a:lnTo>
                    <a:pt x="539" y="1036"/>
                  </a:lnTo>
                  <a:lnTo>
                    <a:pt x="541" y="1080"/>
                  </a:lnTo>
                  <a:lnTo>
                    <a:pt x="566" y="1106"/>
                  </a:lnTo>
                  <a:lnTo>
                    <a:pt x="566" y="1140"/>
                  </a:lnTo>
                  <a:lnTo>
                    <a:pt x="533" y="1146"/>
                  </a:lnTo>
                  <a:lnTo>
                    <a:pt x="529" y="1173"/>
                  </a:lnTo>
                  <a:lnTo>
                    <a:pt x="512" y="1181"/>
                  </a:lnTo>
                  <a:lnTo>
                    <a:pt x="501" y="1208"/>
                  </a:lnTo>
                </a:path>
              </a:pathLst>
            </a:custGeom>
            <a:solidFill>
              <a:srgbClr val="99CC00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955675" y="3298825"/>
              <a:ext cx="1263650" cy="1069975"/>
            </a:xfrm>
            <a:custGeom>
              <a:avLst/>
              <a:gdLst>
                <a:gd name="T0" fmla="*/ 57 w 780"/>
                <a:gd name="T1" fmla="*/ 338 h 660"/>
                <a:gd name="T2" fmla="*/ 74 w 780"/>
                <a:gd name="T3" fmla="*/ 329 h 660"/>
                <a:gd name="T4" fmla="*/ 65 w 780"/>
                <a:gd name="T5" fmla="*/ 304 h 660"/>
                <a:gd name="T6" fmla="*/ 41 w 780"/>
                <a:gd name="T7" fmla="*/ 261 h 660"/>
                <a:gd name="T8" fmla="*/ 16 w 780"/>
                <a:gd name="T9" fmla="*/ 261 h 660"/>
                <a:gd name="T10" fmla="*/ 0 w 780"/>
                <a:gd name="T11" fmla="*/ 228 h 660"/>
                <a:gd name="T12" fmla="*/ 33 w 780"/>
                <a:gd name="T13" fmla="*/ 186 h 660"/>
                <a:gd name="T14" fmla="*/ 98 w 780"/>
                <a:gd name="T15" fmla="*/ 219 h 660"/>
                <a:gd name="T16" fmla="*/ 98 w 780"/>
                <a:gd name="T17" fmla="*/ 160 h 660"/>
                <a:gd name="T18" fmla="*/ 131 w 780"/>
                <a:gd name="T19" fmla="*/ 92 h 660"/>
                <a:gd name="T20" fmla="*/ 188 w 780"/>
                <a:gd name="T21" fmla="*/ 67 h 660"/>
                <a:gd name="T22" fmla="*/ 197 w 780"/>
                <a:gd name="T23" fmla="*/ 50 h 660"/>
                <a:gd name="T24" fmla="*/ 213 w 780"/>
                <a:gd name="T25" fmla="*/ 25 h 660"/>
                <a:gd name="T26" fmla="*/ 221 w 780"/>
                <a:gd name="T27" fmla="*/ 0 h 660"/>
                <a:gd name="T28" fmla="*/ 303 w 780"/>
                <a:gd name="T29" fmla="*/ 25 h 660"/>
                <a:gd name="T30" fmla="*/ 336 w 780"/>
                <a:gd name="T31" fmla="*/ 25 h 660"/>
                <a:gd name="T32" fmla="*/ 361 w 780"/>
                <a:gd name="T33" fmla="*/ 17 h 660"/>
                <a:gd name="T34" fmla="*/ 385 w 780"/>
                <a:gd name="T35" fmla="*/ 42 h 660"/>
                <a:gd name="T36" fmla="*/ 435 w 780"/>
                <a:gd name="T37" fmla="*/ 59 h 660"/>
                <a:gd name="T38" fmla="*/ 459 w 780"/>
                <a:gd name="T39" fmla="*/ 59 h 660"/>
                <a:gd name="T40" fmla="*/ 467 w 780"/>
                <a:gd name="T41" fmla="*/ 76 h 660"/>
                <a:gd name="T42" fmla="*/ 509 w 780"/>
                <a:gd name="T43" fmla="*/ 101 h 660"/>
                <a:gd name="T44" fmla="*/ 550 w 780"/>
                <a:gd name="T45" fmla="*/ 109 h 660"/>
                <a:gd name="T46" fmla="*/ 550 w 780"/>
                <a:gd name="T47" fmla="*/ 126 h 660"/>
                <a:gd name="T48" fmla="*/ 541 w 780"/>
                <a:gd name="T49" fmla="*/ 152 h 660"/>
                <a:gd name="T50" fmla="*/ 550 w 780"/>
                <a:gd name="T51" fmla="*/ 169 h 660"/>
                <a:gd name="T52" fmla="*/ 623 w 780"/>
                <a:gd name="T53" fmla="*/ 152 h 660"/>
                <a:gd name="T54" fmla="*/ 780 w 780"/>
                <a:gd name="T55" fmla="*/ 236 h 660"/>
                <a:gd name="T56" fmla="*/ 731 w 780"/>
                <a:gd name="T57" fmla="*/ 295 h 660"/>
                <a:gd name="T58" fmla="*/ 681 w 780"/>
                <a:gd name="T59" fmla="*/ 312 h 660"/>
                <a:gd name="T60" fmla="*/ 616 w 780"/>
                <a:gd name="T61" fmla="*/ 304 h 660"/>
                <a:gd name="T62" fmla="*/ 575 w 780"/>
                <a:gd name="T63" fmla="*/ 329 h 660"/>
                <a:gd name="T64" fmla="*/ 525 w 780"/>
                <a:gd name="T65" fmla="*/ 338 h 660"/>
                <a:gd name="T66" fmla="*/ 525 w 780"/>
                <a:gd name="T67" fmla="*/ 338 h 660"/>
                <a:gd name="T68" fmla="*/ 476 w 780"/>
                <a:gd name="T69" fmla="*/ 363 h 660"/>
                <a:gd name="T70" fmla="*/ 443 w 780"/>
                <a:gd name="T71" fmla="*/ 396 h 660"/>
                <a:gd name="T72" fmla="*/ 426 w 780"/>
                <a:gd name="T73" fmla="*/ 430 h 660"/>
                <a:gd name="T74" fmla="*/ 388 w 780"/>
                <a:gd name="T75" fmla="*/ 521 h 660"/>
                <a:gd name="T76" fmla="*/ 358 w 780"/>
                <a:gd name="T77" fmla="*/ 558 h 660"/>
                <a:gd name="T78" fmla="*/ 316 w 780"/>
                <a:gd name="T79" fmla="*/ 577 h 660"/>
                <a:gd name="T80" fmla="*/ 276 w 780"/>
                <a:gd name="T81" fmla="*/ 617 h 660"/>
                <a:gd name="T82" fmla="*/ 222 w 780"/>
                <a:gd name="T83" fmla="*/ 602 h 660"/>
                <a:gd name="T84" fmla="*/ 172 w 780"/>
                <a:gd name="T85" fmla="*/ 660 h 660"/>
                <a:gd name="T86" fmla="*/ 128 w 780"/>
                <a:gd name="T87" fmla="*/ 633 h 660"/>
                <a:gd name="T88" fmla="*/ 114 w 780"/>
                <a:gd name="T89" fmla="*/ 577 h 660"/>
                <a:gd name="T90" fmla="*/ 96 w 780"/>
                <a:gd name="T91" fmla="*/ 558 h 660"/>
                <a:gd name="T92" fmla="*/ 81 w 780"/>
                <a:gd name="T93" fmla="*/ 528 h 660"/>
                <a:gd name="T94" fmla="*/ 52 w 780"/>
                <a:gd name="T95" fmla="*/ 485 h 660"/>
                <a:gd name="T96" fmla="*/ 33 w 780"/>
                <a:gd name="T97" fmla="*/ 441 h 660"/>
                <a:gd name="T98" fmla="*/ 39 w 780"/>
                <a:gd name="T99" fmla="*/ 405 h 660"/>
                <a:gd name="T100" fmla="*/ 48 w 780"/>
                <a:gd name="T101" fmla="*/ 387 h 660"/>
                <a:gd name="T102" fmla="*/ 20 w 780"/>
                <a:gd name="T103" fmla="*/ 355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80" h="660">
                  <a:moveTo>
                    <a:pt x="20" y="353"/>
                  </a:moveTo>
                  <a:lnTo>
                    <a:pt x="57" y="338"/>
                  </a:lnTo>
                  <a:lnTo>
                    <a:pt x="65" y="338"/>
                  </a:lnTo>
                  <a:lnTo>
                    <a:pt x="74" y="329"/>
                  </a:lnTo>
                  <a:lnTo>
                    <a:pt x="65" y="321"/>
                  </a:lnTo>
                  <a:lnTo>
                    <a:pt x="65" y="304"/>
                  </a:lnTo>
                  <a:lnTo>
                    <a:pt x="49" y="278"/>
                  </a:lnTo>
                  <a:lnTo>
                    <a:pt x="41" y="261"/>
                  </a:lnTo>
                  <a:lnTo>
                    <a:pt x="24" y="261"/>
                  </a:lnTo>
                  <a:lnTo>
                    <a:pt x="16" y="261"/>
                  </a:lnTo>
                  <a:lnTo>
                    <a:pt x="7" y="244"/>
                  </a:lnTo>
                  <a:lnTo>
                    <a:pt x="0" y="228"/>
                  </a:lnTo>
                  <a:lnTo>
                    <a:pt x="16" y="211"/>
                  </a:lnTo>
                  <a:lnTo>
                    <a:pt x="33" y="186"/>
                  </a:lnTo>
                  <a:lnTo>
                    <a:pt x="65" y="202"/>
                  </a:lnTo>
                  <a:lnTo>
                    <a:pt x="98" y="219"/>
                  </a:lnTo>
                  <a:lnTo>
                    <a:pt x="82" y="177"/>
                  </a:lnTo>
                  <a:lnTo>
                    <a:pt x="98" y="160"/>
                  </a:lnTo>
                  <a:lnTo>
                    <a:pt x="106" y="92"/>
                  </a:lnTo>
                  <a:lnTo>
                    <a:pt x="131" y="92"/>
                  </a:lnTo>
                  <a:lnTo>
                    <a:pt x="164" y="67"/>
                  </a:lnTo>
                  <a:lnTo>
                    <a:pt x="188" y="67"/>
                  </a:lnTo>
                  <a:lnTo>
                    <a:pt x="188" y="59"/>
                  </a:lnTo>
                  <a:lnTo>
                    <a:pt x="197" y="50"/>
                  </a:lnTo>
                  <a:lnTo>
                    <a:pt x="213" y="42"/>
                  </a:lnTo>
                  <a:lnTo>
                    <a:pt x="213" y="25"/>
                  </a:lnTo>
                  <a:lnTo>
                    <a:pt x="213" y="8"/>
                  </a:lnTo>
                  <a:lnTo>
                    <a:pt x="221" y="0"/>
                  </a:lnTo>
                  <a:lnTo>
                    <a:pt x="262" y="17"/>
                  </a:lnTo>
                  <a:lnTo>
                    <a:pt x="303" y="25"/>
                  </a:lnTo>
                  <a:lnTo>
                    <a:pt x="320" y="25"/>
                  </a:lnTo>
                  <a:lnTo>
                    <a:pt x="336" y="25"/>
                  </a:lnTo>
                  <a:lnTo>
                    <a:pt x="344" y="25"/>
                  </a:lnTo>
                  <a:lnTo>
                    <a:pt x="361" y="17"/>
                  </a:lnTo>
                  <a:lnTo>
                    <a:pt x="370" y="34"/>
                  </a:lnTo>
                  <a:lnTo>
                    <a:pt x="385" y="42"/>
                  </a:lnTo>
                  <a:lnTo>
                    <a:pt x="411" y="50"/>
                  </a:lnTo>
                  <a:lnTo>
                    <a:pt x="435" y="59"/>
                  </a:lnTo>
                  <a:lnTo>
                    <a:pt x="443" y="59"/>
                  </a:lnTo>
                  <a:lnTo>
                    <a:pt x="459" y="59"/>
                  </a:lnTo>
                  <a:lnTo>
                    <a:pt x="467" y="59"/>
                  </a:lnTo>
                  <a:lnTo>
                    <a:pt x="467" y="76"/>
                  </a:lnTo>
                  <a:lnTo>
                    <a:pt x="467" y="92"/>
                  </a:lnTo>
                  <a:lnTo>
                    <a:pt x="509" y="101"/>
                  </a:lnTo>
                  <a:lnTo>
                    <a:pt x="550" y="101"/>
                  </a:lnTo>
                  <a:lnTo>
                    <a:pt x="550" y="109"/>
                  </a:lnTo>
                  <a:lnTo>
                    <a:pt x="558" y="118"/>
                  </a:lnTo>
                  <a:lnTo>
                    <a:pt x="550" y="126"/>
                  </a:lnTo>
                  <a:lnTo>
                    <a:pt x="541" y="134"/>
                  </a:lnTo>
                  <a:lnTo>
                    <a:pt x="541" y="152"/>
                  </a:lnTo>
                  <a:lnTo>
                    <a:pt x="541" y="160"/>
                  </a:lnTo>
                  <a:lnTo>
                    <a:pt x="550" y="169"/>
                  </a:lnTo>
                  <a:lnTo>
                    <a:pt x="574" y="163"/>
                  </a:lnTo>
                  <a:lnTo>
                    <a:pt x="623" y="152"/>
                  </a:lnTo>
                  <a:lnTo>
                    <a:pt x="714" y="236"/>
                  </a:lnTo>
                  <a:lnTo>
                    <a:pt x="780" y="236"/>
                  </a:lnTo>
                  <a:lnTo>
                    <a:pt x="763" y="295"/>
                  </a:lnTo>
                  <a:lnTo>
                    <a:pt x="731" y="295"/>
                  </a:lnTo>
                  <a:lnTo>
                    <a:pt x="705" y="312"/>
                  </a:lnTo>
                  <a:lnTo>
                    <a:pt x="681" y="312"/>
                  </a:lnTo>
                  <a:lnTo>
                    <a:pt x="649" y="295"/>
                  </a:lnTo>
                  <a:lnTo>
                    <a:pt x="616" y="304"/>
                  </a:lnTo>
                  <a:lnTo>
                    <a:pt x="582" y="295"/>
                  </a:lnTo>
                  <a:lnTo>
                    <a:pt x="575" y="329"/>
                  </a:lnTo>
                  <a:lnTo>
                    <a:pt x="534" y="312"/>
                  </a:lnTo>
                  <a:lnTo>
                    <a:pt x="525" y="338"/>
                  </a:lnTo>
                  <a:lnTo>
                    <a:pt x="517" y="338"/>
                  </a:lnTo>
                  <a:lnTo>
                    <a:pt x="525" y="338"/>
                  </a:lnTo>
                  <a:lnTo>
                    <a:pt x="517" y="346"/>
                  </a:lnTo>
                  <a:lnTo>
                    <a:pt x="476" y="363"/>
                  </a:lnTo>
                  <a:lnTo>
                    <a:pt x="443" y="371"/>
                  </a:lnTo>
                  <a:lnTo>
                    <a:pt x="443" y="396"/>
                  </a:lnTo>
                  <a:lnTo>
                    <a:pt x="443" y="413"/>
                  </a:lnTo>
                  <a:lnTo>
                    <a:pt x="426" y="430"/>
                  </a:lnTo>
                  <a:lnTo>
                    <a:pt x="402" y="456"/>
                  </a:lnTo>
                  <a:lnTo>
                    <a:pt x="388" y="521"/>
                  </a:lnTo>
                  <a:lnTo>
                    <a:pt x="369" y="560"/>
                  </a:lnTo>
                  <a:lnTo>
                    <a:pt x="358" y="558"/>
                  </a:lnTo>
                  <a:lnTo>
                    <a:pt x="336" y="575"/>
                  </a:lnTo>
                  <a:lnTo>
                    <a:pt x="316" y="577"/>
                  </a:lnTo>
                  <a:lnTo>
                    <a:pt x="304" y="618"/>
                  </a:lnTo>
                  <a:lnTo>
                    <a:pt x="276" y="617"/>
                  </a:lnTo>
                  <a:lnTo>
                    <a:pt x="261" y="601"/>
                  </a:lnTo>
                  <a:lnTo>
                    <a:pt x="222" y="602"/>
                  </a:lnTo>
                  <a:lnTo>
                    <a:pt x="213" y="638"/>
                  </a:lnTo>
                  <a:lnTo>
                    <a:pt x="172" y="660"/>
                  </a:lnTo>
                  <a:lnTo>
                    <a:pt x="149" y="633"/>
                  </a:lnTo>
                  <a:lnTo>
                    <a:pt x="128" y="633"/>
                  </a:lnTo>
                  <a:lnTo>
                    <a:pt x="114" y="590"/>
                  </a:lnTo>
                  <a:lnTo>
                    <a:pt x="114" y="577"/>
                  </a:lnTo>
                  <a:lnTo>
                    <a:pt x="107" y="558"/>
                  </a:lnTo>
                  <a:lnTo>
                    <a:pt x="96" y="558"/>
                  </a:lnTo>
                  <a:lnTo>
                    <a:pt x="89" y="546"/>
                  </a:lnTo>
                  <a:lnTo>
                    <a:pt x="81" y="528"/>
                  </a:lnTo>
                  <a:lnTo>
                    <a:pt x="81" y="499"/>
                  </a:lnTo>
                  <a:lnTo>
                    <a:pt x="52" y="485"/>
                  </a:lnTo>
                  <a:lnTo>
                    <a:pt x="39" y="465"/>
                  </a:lnTo>
                  <a:lnTo>
                    <a:pt x="33" y="441"/>
                  </a:lnTo>
                  <a:lnTo>
                    <a:pt x="33" y="422"/>
                  </a:lnTo>
                  <a:lnTo>
                    <a:pt x="39" y="405"/>
                  </a:lnTo>
                  <a:lnTo>
                    <a:pt x="42" y="396"/>
                  </a:lnTo>
                  <a:lnTo>
                    <a:pt x="48" y="387"/>
                  </a:lnTo>
                  <a:lnTo>
                    <a:pt x="30" y="374"/>
                  </a:lnTo>
                  <a:lnTo>
                    <a:pt x="20" y="355"/>
                  </a:lnTo>
                </a:path>
              </a:pathLst>
            </a:custGeom>
            <a:solidFill>
              <a:srgbClr val="99CC00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1146175" y="2284413"/>
              <a:ext cx="2309812" cy="1574800"/>
            </a:xfrm>
            <a:custGeom>
              <a:avLst/>
              <a:gdLst>
                <a:gd name="T0" fmla="*/ 653 w 1426"/>
                <a:gd name="T1" fmla="*/ 863 h 973"/>
                <a:gd name="T2" fmla="*/ 415 w 1426"/>
                <a:gd name="T3" fmla="*/ 786 h 973"/>
                <a:gd name="T4" fmla="*/ 341 w 1426"/>
                <a:gd name="T5" fmla="*/ 719 h 973"/>
                <a:gd name="T6" fmla="*/ 242 w 1426"/>
                <a:gd name="T7" fmla="*/ 646 h 973"/>
                <a:gd name="T8" fmla="*/ 94 w 1426"/>
                <a:gd name="T9" fmla="*/ 646 h 973"/>
                <a:gd name="T10" fmla="*/ 48 w 1426"/>
                <a:gd name="T11" fmla="*/ 694 h 973"/>
                <a:gd name="T12" fmla="*/ 24 w 1426"/>
                <a:gd name="T13" fmla="*/ 629 h 973"/>
                <a:gd name="T14" fmla="*/ 29 w 1426"/>
                <a:gd name="T15" fmla="*/ 536 h 973"/>
                <a:gd name="T16" fmla="*/ 118 w 1426"/>
                <a:gd name="T17" fmla="*/ 442 h 973"/>
                <a:gd name="T18" fmla="*/ 209 w 1426"/>
                <a:gd name="T19" fmla="*/ 435 h 973"/>
                <a:gd name="T20" fmla="*/ 242 w 1426"/>
                <a:gd name="T21" fmla="*/ 420 h 973"/>
                <a:gd name="T22" fmla="*/ 407 w 1426"/>
                <a:gd name="T23" fmla="*/ 363 h 973"/>
                <a:gd name="T24" fmla="*/ 497 w 1426"/>
                <a:gd name="T25" fmla="*/ 194 h 973"/>
                <a:gd name="T26" fmla="*/ 595 w 1426"/>
                <a:gd name="T27" fmla="*/ 101 h 973"/>
                <a:gd name="T28" fmla="*/ 636 w 1426"/>
                <a:gd name="T29" fmla="*/ 42 h 973"/>
                <a:gd name="T30" fmla="*/ 727 w 1426"/>
                <a:gd name="T31" fmla="*/ 0 h 973"/>
                <a:gd name="T32" fmla="*/ 793 w 1426"/>
                <a:gd name="T33" fmla="*/ 42 h 973"/>
                <a:gd name="T34" fmla="*/ 793 w 1426"/>
                <a:gd name="T35" fmla="*/ 92 h 973"/>
                <a:gd name="T36" fmla="*/ 834 w 1426"/>
                <a:gd name="T37" fmla="*/ 253 h 973"/>
                <a:gd name="T38" fmla="*/ 760 w 1426"/>
                <a:gd name="T39" fmla="*/ 363 h 973"/>
                <a:gd name="T40" fmla="*/ 662 w 1426"/>
                <a:gd name="T41" fmla="*/ 203 h 973"/>
                <a:gd name="T42" fmla="*/ 628 w 1426"/>
                <a:gd name="T43" fmla="*/ 211 h 973"/>
                <a:gd name="T44" fmla="*/ 595 w 1426"/>
                <a:gd name="T45" fmla="*/ 405 h 973"/>
                <a:gd name="T46" fmla="*/ 612 w 1426"/>
                <a:gd name="T47" fmla="*/ 414 h 973"/>
                <a:gd name="T48" fmla="*/ 645 w 1426"/>
                <a:gd name="T49" fmla="*/ 388 h 973"/>
                <a:gd name="T50" fmla="*/ 703 w 1426"/>
                <a:gd name="T51" fmla="*/ 440 h 973"/>
                <a:gd name="T52" fmla="*/ 785 w 1426"/>
                <a:gd name="T53" fmla="*/ 388 h 973"/>
                <a:gd name="T54" fmla="*/ 859 w 1426"/>
                <a:gd name="T55" fmla="*/ 431 h 973"/>
                <a:gd name="T56" fmla="*/ 900 w 1426"/>
                <a:gd name="T57" fmla="*/ 372 h 973"/>
                <a:gd name="T58" fmla="*/ 941 w 1426"/>
                <a:gd name="T59" fmla="*/ 321 h 973"/>
                <a:gd name="T60" fmla="*/ 941 w 1426"/>
                <a:gd name="T61" fmla="*/ 405 h 973"/>
                <a:gd name="T62" fmla="*/ 924 w 1426"/>
                <a:gd name="T63" fmla="*/ 465 h 973"/>
                <a:gd name="T64" fmla="*/ 982 w 1426"/>
                <a:gd name="T65" fmla="*/ 448 h 973"/>
                <a:gd name="T66" fmla="*/ 1048 w 1426"/>
                <a:gd name="T67" fmla="*/ 440 h 973"/>
                <a:gd name="T68" fmla="*/ 1113 w 1426"/>
                <a:gd name="T69" fmla="*/ 448 h 973"/>
                <a:gd name="T70" fmla="*/ 1171 w 1426"/>
                <a:gd name="T71" fmla="*/ 457 h 973"/>
                <a:gd name="T72" fmla="*/ 1130 w 1426"/>
                <a:gd name="T73" fmla="*/ 490 h 973"/>
                <a:gd name="T74" fmla="*/ 1196 w 1426"/>
                <a:gd name="T75" fmla="*/ 499 h 973"/>
                <a:gd name="T76" fmla="*/ 1269 w 1426"/>
                <a:gd name="T77" fmla="*/ 515 h 973"/>
                <a:gd name="T78" fmla="*/ 1261 w 1426"/>
                <a:gd name="T79" fmla="*/ 558 h 973"/>
                <a:gd name="T80" fmla="*/ 1302 w 1426"/>
                <a:gd name="T81" fmla="*/ 532 h 973"/>
                <a:gd name="T82" fmla="*/ 1310 w 1426"/>
                <a:gd name="T83" fmla="*/ 448 h 973"/>
                <a:gd name="T84" fmla="*/ 1319 w 1426"/>
                <a:gd name="T85" fmla="*/ 405 h 973"/>
                <a:gd name="T86" fmla="*/ 1351 w 1426"/>
                <a:gd name="T87" fmla="*/ 473 h 973"/>
                <a:gd name="T88" fmla="*/ 1426 w 1426"/>
                <a:gd name="T89" fmla="*/ 532 h 973"/>
                <a:gd name="T90" fmla="*/ 1418 w 1426"/>
                <a:gd name="T91" fmla="*/ 584 h 973"/>
                <a:gd name="T92" fmla="*/ 1418 w 1426"/>
                <a:gd name="T93" fmla="*/ 626 h 973"/>
                <a:gd name="T94" fmla="*/ 1368 w 1426"/>
                <a:gd name="T95" fmla="*/ 693 h 973"/>
                <a:gd name="T96" fmla="*/ 1269 w 1426"/>
                <a:gd name="T97" fmla="*/ 744 h 973"/>
                <a:gd name="T98" fmla="*/ 1237 w 1426"/>
                <a:gd name="T99" fmla="*/ 761 h 973"/>
                <a:gd name="T100" fmla="*/ 1187 w 1426"/>
                <a:gd name="T101" fmla="*/ 761 h 973"/>
                <a:gd name="T102" fmla="*/ 1163 w 1426"/>
                <a:gd name="T103" fmla="*/ 820 h 973"/>
                <a:gd name="T104" fmla="*/ 1105 w 1426"/>
                <a:gd name="T105" fmla="*/ 939 h 973"/>
                <a:gd name="T106" fmla="*/ 1031 w 1426"/>
                <a:gd name="T107" fmla="*/ 955 h 973"/>
                <a:gd name="T108" fmla="*/ 908 w 1426"/>
                <a:gd name="T109" fmla="*/ 930 h 973"/>
                <a:gd name="T110" fmla="*/ 850 w 1426"/>
                <a:gd name="T111" fmla="*/ 896 h 973"/>
                <a:gd name="T112" fmla="*/ 817 w 1426"/>
                <a:gd name="T113" fmla="*/ 939 h 973"/>
                <a:gd name="T114" fmla="*/ 760 w 1426"/>
                <a:gd name="T115" fmla="*/ 930 h 973"/>
                <a:gd name="T116" fmla="*/ 719 w 1426"/>
                <a:gd name="T117" fmla="*/ 947 h 973"/>
                <a:gd name="T118" fmla="*/ 719 w 1426"/>
                <a:gd name="T119" fmla="*/ 863 h 973"/>
                <a:gd name="T120" fmla="*/ 711 w 1426"/>
                <a:gd name="T121" fmla="*/ 795 h 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26" h="973">
                  <a:moveTo>
                    <a:pt x="686" y="795"/>
                  </a:moveTo>
                  <a:lnTo>
                    <a:pt x="686" y="812"/>
                  </a:lnTo>
                  <a:lnTo>
                    <a:pt x="662" y="838"/>
                  </a:lnTo>
                  <a:lnTo>
                    <a:pt x="653" y="863"/>
                  </a:lnTo>
                  <a:lnTo>
                    <a:pt x="587" y="863"/>
                  </a:lnTo>
                  <a:lnTo>
                    <a:pt x="497" y="778"/>
                  </a:lnTo>
                  <a:lnTo>
                    <a:pt x="439" y="795"/>
                  </a:lnTo>
                  <a:lnTo>
                    <a:pt x="415" y="786"/>
                  </a:lnTo>
                  <a:lnTo>
                    <a:pt x="415" y="761"/>
                  </a:lnTo>
                  <a:lnTo>
                    <a:pt x="431" y="744"/>
                  </a:lnTo>
                  <a:lnTo>
                    <a:pt x="423" y="727"/>
                  </a:lnTo>
                  <a:lnTo>
                    <a:pt x="341" y="719"/>
                  </a:lnTo>
                  <a:lnTo>
                    <a:pt x="341" y="685"/>
                  </a:lnTo>
                  <a:lnTo>
                    <a:pt x="312" y="696"/>
                  </a:lnTo>
                  <a:lnTo>
                    <a:pt x="274" y="680"/>
                  </a:lnTo>
                  <a:lnTo>
                    <a:pt x="242" y="646"/>
                  </a:lnTo>
                  <a:lnTo>
                    <a:pt x="226" y="660"/>
                  </a:lnTo>
                  <a:lnTo>
                    <a:pt x="185" y="660"/>
                  </a:lnTo>
                  <a:lnTo>
                    <a:pt x="106" y="636"/>
                  </a:lnTo>
                  <a:lnTo>
                    <a:pt x="94" y="646"/>
                  </a:lnTo>
                  <a:lnTo>
                    <a:pt x="101" y="677"/>
                  </a:lnTo>
                  <a:lnTo>
                    <a:pt x="84" y="684"/>
                  </a:lnTo>
                  <a:lnTo>
                    <a:pt x="72" y="694"/>
                  </a:lnTo>
                  <a:lnTo>
                    <a:pt x="48" y="694"/>
                  </a:lnTo>
                  <a:lnTo>
                    <a:pt x="34" y="663"/>
                  </a:lnTo>
                  <a:lnTo>
                    <a:pt x="29" y="648"/>
                  </a:lnTo>
                  <a:lnTo>
                    <a:pt x="14" y="644"/>
                  </a:lnTo>
                  <a:lnTo>
                    <a:pt x="24" y="629"/>
                  </a:lnTo>
                  <a:lnTo>
                    <a:pt x="7" y="608"/>
                  </a:lnTo>
                  <a:lnTo>
                    <a:pt x="0" y="593"/>
                  </a:lnTo>
                  <a:lnTo>
                    <a:pt x="26" y="560"/>
                  </a:lnTo>
                  <a:lnTo>
                    <a:pt x="29" y="536"/>
                  </a:lnTo>
                  <a:lnTo>
                    <a:pt x="46" y="526"/>
                  </a:lnTo>
                  <a:lnTo>
                    <a:pt x="50" y="500"/>
                  </a:lnTo>
                  <a:lnTo>
                    <a:pt x="74" y="500"/>
                  </a:lnTo>
                  <a:lnTo>
                    <a:pt x="118" y="442"/>
                  </a:lnTo>
                  <a:lnTo>
                    <a:pt x="146" y="449"/>
                  </a:lnTo>
                  <a:lnTo>
                    <a:pt x="168" y="420"/>
                  </a:lnTo>
                  <a:lnTo>
                    <a:pt x="178" y="432"/>
                  </a:lnTo>
                  <a:lnTo>
                    <a:pt x="209" y="435"/>
                  </a:lnTo>
                  <a:lnTo>
                    <a:pt x="216" y="459"/>
                  </a:lnTo>
                  <a:lnTo>
                    <a:pt x="238" y="478"/>
                  </a:lnTo>
                  <a:lnTo>
                    <a:pt x="240" y="444"/>
                  </a:lnTo>
                  <a:lnTo>
                    <a:pt x="242" y="420"/>
                  </a:lnTo>
                  <a:lnTo>
                    <a:pt x="245" y="394"/>
                  </a:lnTo>
                  <a:lnTo>
                    <a:pt x="274" y="384"/>
                  </a:lnTo>
                  <a:lnTo>
                    <a:pt x="292" y="372"/>
                  </a:lnTo>
                  <a:lnTo>
                    <a:pt x="407" y="363"/>
                  </a:lnTo>
                  <a:lnTo>
                    <a:pt x="423" y="288"/>
                  </a:lnTo>
                  <a:lnTo>
                    <a:pt x="448" y="279"/>
                  </a:lnTo>
                  <a:lnTo>
                    <a:pt x="481" y="236"/>
                  </a:lnTo>
                  <a:lnTo>
                    <a:pt x="497" y="194"/>
                  </a:lnTo>
                  <a:lnTo>
                    <a:pt x="546" y="177"/>
                  </a:lnTo>
                  <a:lnTo>
                    <a:pt x="571" y="134"/>
                  </a:lnTo>
                  <a:lnTo>
                    <a:pt x="579" y="118"/>
                  </a:lnTo>
                  <a:lnTo>
                    <a:pt x="595" y="101"/>
                  </a:lnTo>
                  <a:lnTo>
                    <a:pt x="621" y="92"/>
                  </a:lnTo>
                  <a:lnTo>
                    <a:pt x="653" y="84"/>
                  </a:lnTo>
                  <a:lnTo>
                    <a:pt x="645" y="67"/>
                  </a:lnTo>
                  <a:lnTo>
                    <a:pt x="636" y="42"/>
                  </a:lnTo>
                  <a:lnTo>
                    <a:pt x="653" y="25"/>
                  </a:lnTo>
                  <a:lnTo>
                    <a:pt x="677" y="8"/>
                  </a:lnTo>
                  <a:lnTo>
                    <a:pt x="703" y="8"/>
                  </a:lnTo>
                  <a:lnTo>
                    <a:pt x="727" y="0"/>
                  </a:lnTo>
                  <a:lnTo>
                    <a:pt x="735" y="0"/>
                  </a:lnTo>
                  <a:lnTo>
                    <a:pt x="752" y="0"/>
                  </a:lnTo>
                  <a:lnTo>
                    <a:pt x="760" y="17"/>
                  </a:lnTo>
                  <a:lnTo>
                    <a:pt x="793" y="42"/>
                  </a:lnTo>
                  <a:lnTo>
                    <a:pt x="809" y="59"/>
                  </a:lnTo>
                  <a:lnTo>
                    <a:pt x="793" y="67"/>
                  </a:lnTo>
                  <a:lnTo>
                    <a:pt x="776" y="67"/>
                  </a:lnTo>
                  <a:lnTo>
                    <a:pt x="793" y="92"/>
                  </a:lnTo>
                  <a:lnTo>
                    <a:pt x="817" y="118"/>
                  </a:lnTo>
                  <a:lnTo>
                    <a:pt x="817" y="161"/>
                  </a:lnTo>
                  <a:lnTo>
                    <a:pt x="826" y="203"/>
                  </a:lnTo>
                  <a:lnTo>
                    <a:pt x="834" y="253"/>
                  </a:lnTo>
                  <a:lnTo>
                    <a:pt x="850" y="296"/>
                  </a:lnTo>
                  <a:lnTo>
                    <a:pt x="817" y="330"/>
                  </a:lnTo>
                  <a:lnTo>
                    <a:pt x="785" y="363"/>
                  </a:lnTo>
                  <a:lnTo>
                    <a:pt x="760" y="363"/>
                  </a:lnTo>
                  <a:lnTo>
                    <a:pt x="735" y="355"/>
                  </a:lnTo>
                  <a:lnTo>
                    <a:pt x="694" y="296"/>
                  </a:lnTo>
                  <a:lnTo>
                    <a:pt x="662" y="228"/>
                  </a:lnTo>
                  <a:lnTo>
                    <a:pt x="662" y="203"/>
                  </a:lnTo>
                  <a:lnTo>
                    <a:pt x="662" y="177"/>
                  </a:lnTo>
                  <a:lnTo>
                    <a:pt x="645" y="194"/>
                  </a:lnTo>
                  <a:lnTo>
                    <a:pt x="636" y="203"/>
                  </a:lnTo>
                  <a:lnTo>
                    <a:pt x="628" y="211"/>
                  </a:lnTo>
                  <a:lnTo>
                    <a:pt x="645" y="270"/>
                  </a:lnTo>
                  <a:lnTo>
                    <a:pt x="595" y="313"/>
                  </a:lnTo>
                  <a:lnTo>
                    <a:pt x="579" y="372"/>
                  </a:lnTo>
                  <a:lnTo>
                    <a:pt x="595" y="405"/>
                  </a:lnTo>
                  <a:lnTo>
                    <a:pt x="571" y="431"/>
                  </a:lnTo>
                  <a:lnTo>
                    <a:pt x="595" y="440"/>
                  </a:lnTo>
                  <a:lnTo>
                    <a:pt x="621" y="440"/>
                  </a:lnTo>
                  <a:lnTo>
                    <a:pt x="612" y="414"/>
                  </a:lnTo>
                  <a:lnTo>
                    <a:pt x="612" y="388"/>
                  </a:lnTo>
                  <a:lnTo>
                    <a:pt x="621" y="380"/>
                  </a:lnTo>
                  <a:lnTo>
                    <a:pt x="636" y="363"/>
                  </a:lnTo>
                  <a:lnTo>
                    <a:pt x="645" y="388"/>
                  </a:lnTo>
                  <a:lnTo>
                    <a:pt x="662" y="414"/>
                  </a:lnTo>
                  <a:lnTo>
                    <a:pt x="677" y="440"/>
                  </a:lnTo>
                  <a:lnTo>
                    <a:pt x="694" y="457"/>
                  </a:lnTo>
                  <a:lnTo>
                    <a:pt x="703" y="440"/>
                  </a:lnTo>
                  <a:lnTo>
                    <a:pt x="711" y="414"/>
                  </a:lnTo>
                  <a:lnTo>
                    <a:pt x="727" y="405"/>
                  </a:lnTo>
                  <a:lnTo>
                    <a:pt x="752" y="388"/>
                  </a:lnTo>
                  <a:lnTo>
                    <a:pt x="785" y="388"/>
                  </a:lnTo>
                  <a:lnTo>
                    <a:pt x="817" y="388"/>
                  </a:lnTo>
                  <a:lnTo>
                    <a:pt x="834" y="414"/>
                  </a:lnTo>
                  <a:lnTo>
                    <a:pt x="850" y="440"/>
                  </a:lnTo>
                  <a:lnTo>
                    <a:pt x="859" y="431"/>
                  </a:lnTo>
                  <a:lnTo>
                    <a:pt x="859" y="440"/>
                  </a:lnTo>
                  <a:lnTo>
                    <a:pt x="867" y="423"/>
                  </a:lnTo>
                  <a:lnTo>
                    <a:pt x="875" y="388"/>
                  </a:lnTo>
                  <a:lnTo>
                    <a:pt x="900" y="372"/>
                  </a:lnTo>
                  <a:lnTo>
                    <a:pt x="924" y="355"/>
                  </a:lnTo>
                  <a:lnTo>
                    <a:pt x="916" y="330"/>
                  </a:lnTo>
                  <a:lnTo>
                    <a:pt x="916" y="296"/>
                  </a:lnTo>
                  <a:lnTo>
                    <a:pt x="941" y="321"/>
                  </a:lnTo>
                  <a:lnTo>
                    <a:pt x="973" y="346"/>
                  </a:lnTo>
                  <a:lnTo>
                    <a:pt x="965" y="380"/>
                  </a:lnTo>
                  <a:lnTo>
                    <a:pt x="965" y="405"/>
                  </a:lnTo>
                  <a:lnTo>
                    <a:pt x="941" y="405"/>
                  </a:lnTo>
                  <a:lnTo>
                    <a:pt x="924" y="397"/>
                  </a:lnTo>
                  <a:lnTo>
                    <a:pt x="916" y="431"/>
                  </a:lnTo>
                  <a:lnTo>
                    <a:pt x="908" y="457"/>
                  </a:lnTo>
                  <a:lnTo>
                    <a:pt x="924" y="465"/>
                  </a:lnTo>
                  <a:lnTo>
                    <a:pt x="949" y="465"/>
                  </a:lnTo>
                  <a:lnTo>
                    <a:pt x="958" y="457"/>
                  </a:lnTo>
                  <a:lnTo>
                    <a:pt x="973" y="440"/>
                  </a:lnTo>
                  <a:lnTo>
                    <a:pt x="982" y="448"/>
                  </a:lnTo>
                  <a:lnTo>
                    <a:pt x="999" y="448"/>
                  </a:lnTo>
                  <a:lnTo>
                    <a:pt x="1006" y="448"/>
                  </a:lnTo>
                  <a:lnTo>
                    <a:pt x="1014" y="440"/>
                  </a:lnTo>
                  <a:lnTo>
                    <a:pt x="1048" y="440"/>
                  </a:lnTo>
                  <a:lnTo>
                    <a:pt x="1089" y="440"/>
                  </a:lnTo>
                  <a:lnTo>
                    <a:pt x="1097" y="448"/>
                  </a:lnTo>
                  <a:lnTo>
                    <a:pt x="1105" y="457"/>
                  </a:lnTo>
                  <a:lnTo>
                    <a:pt x="1113" y="448"/>
                  </a:lnTo>
                  <a:lnTo>
                    <a:pt x="1122" y="440"/>
                  </a:lnTo>
                  <a:lnTo>
                    <a:pt x="1146" y="440"/>
                  </a:lnTo>
                  <a:lnTo>
                    <a:pt x="1171" y="440"/>
                  </a:lnTo>
                  <a:lnTo>
                    <a:pt x="1171" y="457"/>
                  </a:lnTo>
                  <a:lnTo>
                    <a:pt x="1171" y="465"/>
                  </a:lnTo>
                  <a:lnTo>
                    <a:pt x="1146" y="473"/>
                  </a:lnTo>
                  <a:lnTo>
                    <a:pt x="1122" y="482"/>
                  </a:lnTo>
                  <a:lnTo>
                    <a:pt x="1130" y="490"/>
                  </a:lnTo>
                  <a:lnTo>
                    <a:pt x="1146" y="499"/>
                  </a:lnTo>
                  <a:lnTo>
                    <a:pt x="1163" y="490"/>
                  </a:lnTo>
                  <a:lnTo>
                    <a:pt x="1179" y="482"/>
                  </a:lnTo>
                  <a:lnTo>
                    <a:pt x="1196" y="499"/>
                  </a:lnTo>
                  <a:lnTo>
                    <a:pt x="1220" y="507"/>
                  </a:lnTo>
                  <a:lnTo>
                    <a:pt x="1245" y="507"/>
                  </a:lnTo>
                  <a:lnTo>
                    <a:pt x="1269" y="499"/>
                  </a:lnTo>
                  <a:lnTo>
                    <a:pt x="1269" y="515"/>
                  </a:lnTo>
                  <a:lnTo>
                    <a:pt x="1278" y="524"/>
                  </a:lnTo>
                  <a:lnTo>
                    <a:pt x="1261" y="541"/>
                  </a:lnTo>
                  <a:lnTo>
                    <a:pt x="1253" y="549"/>
                  </a:lnTo>
                  <a:lnTo>
                    <a:pt x="1261" y="558"/>
                  </a:lnTo>
                  <a:lnTo>
                    <a:pt x="1278" y="567"/>
                  </a:lnTo>
                  <a:lnTo>
                    <a:pt x="1286" y="549"/>
                  </a:lnTo>
                  <a:lnTo>
                    <a:pt x="1294" y="532"/>
                  </a:lnTo>
                  <a:lnTo>
                    <a:pt x="1302" y="532"/>
                  </a:lnTo>
                  <a:lnTo>
                    <a:pt x="1319" y="524"/>
                  </a:lnTo>
                  <a:lnTo>
                    <a:pt x="1319" y="499"/>
                  </a:lnTo>
                  <a:lnTo>
                    <a:pt x="1319" y="473"/>
                  </a:lnTo>
                  <a:lnTo>
                    <a:pt x="1310" y="448"/>
                  </a:lnTo>
                  <a:lnTo>
                    <a:pt x="1302" y="423"/>
                  </a:lnTo>
                  <a:lnTo>
                    <a:pt x="1302" y="405"/>
                  </a:lnTo>
                  <a:lnTo>
                    <a:pt x="1302" y="388"/>
                  </a:lnTo>
                  <a:lnTo>
                    <a:pt x="1319" y="405"/>
                  </a:lnTo>
                  <a:lnTo>
                    <a:pt x="1336" y="423"/>
                  </a:lnTo>
                  <a:lnTo>
                    <a:pt x="1336" y="448"/>
                  </a:lnTo>
                  <a:lnTo>
                    <a:pt x="1336" y="473"/>
                  </a:lnTo>
                  <a:lnTo>
                    <a:pt x="1351" y="473"/>
                  </a:lnTo>
                  <a:lnTo>
                    <a:pt x="1368" y="473"/>
                  </a:lnTo>
                  <a:lnTo>
                    <a:pt x="1392" y="499"/>
                  </a:lnTo>
                  <a:lnTo>
                    <a:pt x="1426" y="515"/>
                  </a:lnTo>
                  <a:lnTo>
                    <a:pt x="1426" y="532"/>
                  </a:lnTo>
                  <a:lnTo>
                    <a:pt x="1426" y="558"/>
                  </a:lnTo>
                  <a:lnTo>
                    <a:pt x="1418" y="567"/>
                  </a:lnTo>
                  <a:lnTo>
                    <a:pt x="1409" y="575"/>
                  </a:lnTo>
                  <a:lnTo>
                    <a:pt x="1418" y="584"/>
                  </a:lnTo>
                  <a:lnTo>
                    <a:pt x="1426" y="584"/>
                  </a:lnTo>
                  <a:lnTo>
                    <a:pt x="1418" y="600"/>
                  </a:lnTo>
                  <a:lnTo>
                    <a:pt x="1418" y="609"/>
                  </a:lnTo>
                  <a:lnTo>
                    <a:pt x="1418" y="626"/>
                  </a:lnTo>
                  <a:lnTo>
                    <a:pt x="1418" y="642"/>
                  </a:lnTo>
                  <a:lnTo>
                    <a:pt x="1426" y="651"/>
                  </a:lnTo>
                  <a:lnTo>
                    <a:pt x="1392" y="676"/>
                  </a:lnTo>
                  <a:lnTo>
                    <a:pt x="1368" y="693"/>
                  </a:lnTo>
                  <a:lnTo>
                    <a:pt x="1343" y="702"/>
                  </a:lnTo>
                  <a:lnTo>
                    <a:pt x="1327" y="702"/>
                  </a:lnTo>
                  <a:lnTo>
                    <a:pt x="1302" y="719"/>
                  </a:lnTo>
                  <a:lnTo>
                    <a:pt x="1269" y="744"/>
                  </a:lnTo>
                  <a:lnTo>
                    <a:pt x="1261" y="744"/>
                  </a:lnTo>
                  <a:lnTo>
                    <a:pt x="1253" y="744"/>
                  </a:lnTo>
                  <a:lnTo>
                    <a:pt x="1245" y="744"/>
                  </a:lnTo>
                  <a:lnTo>
                    <a:pt x="1237" y="761"/>
                  </a:lnTo>
                  <a:lnTo>
                    <a:pt x="1228" y="769"/>
                  </a:lnTo>
                  <a:lnTo>
                    <a:pt x="1220" y="769"/>
                  </a:lnTo>
                  <a:lnTo>
                    <a:pt x="1196" y="769"/>
                  </a:lnTo>
                  <a:lnTo>
                    <a:pt x="1187" y="761"/>
                  </a:lnTo>
                  <a:lnTo>
                    <a:pt x="1171" y="769"/>
                  </a:lnTo>
                  <a:lnTo>
                    <a:pt x="1163" y="778"/>
                  </a:lnTo>
                  <a:lnTo>
                    <a:pt x="1163" y="803"/>
                  </a:lnTo>
                  <a:lnTo>
                    <a:pt x="1163" y="820"/>
                  </a:lnTo>
                  <a:lnTo>
                    <a:pt x="1146" y="838"/>
                  </a:lnTo>
                  <a:lnTo>
                    <a:pt x="1130" y="846"/>
                  </a:lnTo>
                  <a:lnTo>
                    <a:pt x="1113" y="896"/>
                  </a:lnTo>
                  <a:lnTo>
                    <a:pt x="1105" y="939"/>
                  </a:lnTo>
                  <a:lnTo>
                    <a:pt x="1097" y="947"/>
                  </a:lnTo>
                  <a:lnTo>
                    <a:pt x="1081" y="964"/>
                  </a:lnTo>
                  <a:lnTo>
                    <a:pt x="1064" y="973"/>
                  </a:lnTo>
                  <a:lnTo>
                    <a:pt x="1031" y="955"/>
                  </a:lnTo>
                  <a:lnTo>
                    <a:pt x="999" y="930"/>
                  </a:lnTo>
                  <a:lnTo>
                    <a:pt x="965" y="939"/>
                  </a:lnTo>
                  <a:lnTo>
                    <a:pt x="932" y="939"/>
                  </a:lnTo>
                  <a:lnTo>
                    <a:pt x="908" y="930"/>
                  </a:lnTo>
                  <a:lnTo>
                    <a:pt x="883" y="922"/>
                  </a:lnTo>
                  <a:lnTo>
                    <a:pt x="875" y="913"/>
                  </a:lnTo>
                  <a:lnTo>
                    <a:pt x="875" y="896"/>
                  </a:lnTo>
                  <a:lnTo>
                    <a:pt x="850" y="896"/>
                  </a:lnTo>
                  <a:lnTo>
                    <a:pt x="826" y="896"/>
                  </a:lnTo>
                  <a:lnTo>
                    <a:pt x="826" y="913"/>
                  </a:lnTo>
                  <a:lnTo>
                    <a:pt x="834" y="930"/>
                  </a:lnTo>
                  <a:lnTo>
                    <a:pt x="817" y="939"/>
                  </a:lnTo>
                  <a:lnTo>
                    <a:pt x="801" y="939"/>
                  </a:lnTo>
                  <a:lnTo>
                    <a:pt x="793" y="939"/>
                  </a:lnTo>
                  <a:lnTo>
                    <a:pt x="785" y="930"/>
                  </a:lnTo>
                  <a:lnTo>
                    <a:pt x="760" y="930"/>
                  </a:lnTo>
                  <a:lnTo>
                    <a:pt x="744" y="930"/>
                  </a:lnTo>
                  <a:lnTo>
                    <a:pt x="735" y="939"/>
                  </a:lnTo>
                  <a:lnTo>
                    <a:pt x="727" y="947"/>
                  </a:lnTo>
                  <a:lnTo>
                    <a:pt x="719" y="947"/>
                  </a:lnTo>
                  <a:lnTo>
                    <a:pt x="711" y="947"/>
                  </a:lnTo>
                  <a:lnTo>
                    <a:pt x="703" y="922"/>
                  </a:lnTo>
                  <a:lnTo>
                    <a:pt x="703" y="888"/>
                  </a:lnTo>
                  <a:lnTo>
                    <a:pt x="719" y="863"/>
                  </a:lnTo>
                  <a:lnTo>
                    <a:pt x="735" y="838"/>
                  </a:lnTo>
                  <a:lnTo>
                    <a:pt x="735" y="820"/>
                  </a:lnTo>
                  <a:lnTo>
                    <a:pt x="735" y="795"/>
                  </a:lnTo>
                  <a:lnTo>
                    <a:pt x="711" y="795"/>
                  </a:lnTo>
                  <a:lnTo>
                    <a:pt x="686" y="795"/>
                  </a:lnTo>
                </a:path>
              </a:pathLst>
            </a:custGeom>
            <a:solidFill>
              <a:srgbClr val="99CC00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auto">
            <a:xfrm>
              <a:off x="677863" y="4256088"/>
              <a:ext cx="1109996" cy="1193800"/>
            </a:xfrm>
            <a:custGeom>
              <a:avLst/>
              <a:gdLst>
                <a:gd name="T0" fmla="*/ 427 w 598"/>
                <a:gd name="T1" fmla="*/ 466 h 737"/>
                <a:gd name="T2" fmla="*/ 475 w 598"/>
                <a:gd name="T3" fmla="*/ 466 h 737"/>
                <a:gd name="T4" fmla="*/ 468 w 598"/>
                <a:gd name="T5" fmla="*/ 432 h 737"/>
                <a:gd name="T6" fmla="*/ 505 w 598"/>
                <a:gd name="T7" fmla="*/ 395 h 737"/>
                <a:gd name="T8" fmla="*/ 496 w 598"/>
                <a:gd name="T9" fmla="*/ 358 h 737"/>
                <a:gd name="T10" fmla="*/ 484 w 598"/>
                <a:gd name="T11" fmla="*/ 329 h 737"/>
                <a:gd name="T12" fmla="*/ 475 w 598"/>
                <a:gd name="T13" fmla="*/ 296 h 737"/>
                <a:gd name="T14" fmla="*/ 474 w 598"/>
                <a:gd name="T15" fmla="*/ 270 h 737"/>
                <a:gd name="T16" fmla="*/ 469 w 598"/>
                <a:gd name="T17" fmla="*/ 246 h 737"/>
                <a:gd name="T18" fmla="*/ 492 w 598"/>
                <a:gd name="T19" fmla="*/ 255 h 737"/>
                <a:gd name="T20" fmla="*/ 524 w 598"/>
                <a:gd name="T21" fmla="*/ 263 h 737"/>
                <a:gd name="T22" fmla="*/ 594 w 598"/>
                <a:gd name="T23" fmla="*/ 194 h 737"/>
                <a:gd name="T24" fmla="*/ 538 w 598"/>
                <a:gd name="T25" fmla="*/ 132 h 737"/>
                <a:gd name="T26" fmla="*/ 556 w 598"/>
                <a:gd name="T27" fmla="*/ 90 h 737"/>
                <a:gd name="T28" fmla="*/ 493 w 598"/>
                <a:gd name="T29" fmla="*/ 35 h 737"/>
                <a:gd name="T30" fmla="*/ 460 w 598"/>
                <a:gd name="T31" fmla="*/ 16 h 737"/>
                <a:gd name="T32" fmla="*/ 409 w 598"/>
                <a:gd name="T33" fmla="*/ 2 h 737"/>
                <a:gd name="T34" fmla="*/ 385 w 598"/>
                <a:gd name="T35" fmla="*/ 43 h 737"/>
                <a:gd name="T36" fmla="*/ 353 w 598"/>
                <a:gd name="T37" fmla="*/ 60 h 737"/>
                <a:gd name="T38" fmla="*/ 327 w 598"/>
                <a:gd name="T39" fmla="*/ 35 h 737"/>
                <a:gd name="T40" fmla="*/ 312 w 598"/>
                <a:gd name="T41" fmla="*/ 35 h 737"/>
                <a:gd name="T42" fmla="*/ 271 w 598"/>
                <a:gd name="T43" fmla="*/ 52 h 737"/>
                <a:gd name="T44" fmla="*/ 271 w 598"/>
                <a:gd name="T45" fmla="*/ 69 h 737"/>
                <a:gd name="T46" fmla="*/ 229 w 598"/>
                <a:gd name="T47" fmla="*/ 111 h 737"/>
                <a:gd name="T48" fmla="*/ 197 w 598"/>
                <a:gd name="T49" fmla="*/ 94 h 737"/>
                <a:gd name="T50" fmla="*/ 156 w 598"/>
                <a:gd name="T51" fmla="*/ 85 h 737"/>
                <a:gd name="T52" fmla="*/ 139 w 598"/>
                <a:gd name="T53" fmla="*/ 102 h 737"/>
                <a:gd name="T54" fmla="*/ 163 w 598"/>
                <a:gd name="T55" fmla="*/ 119 h 737"/>
                <a:gd name="T56" fmla="*/ 139 w 598"/>
                <a:gd name="T57" fmla="*/ 127 h 737"/>
                <a:gd name="T58" fmla="*/ 90 w 598"/>
                <a:gd name="T59" fmla="*/ 111 h 737"/>
                <a:gd name="T60" fmla="*/ 49 w 598"/>
                <a:gd name="T61" fmla="*/ 153 h 737"/>
                <a:gd name="T62" fmla="*/ 7 w 598"/>
                <a:gd name="T63" fmla="*/ 144 h 737"/>
                <a:gd name="T64" fmla="*/ 33 w 598"/>
                <a:gd name="T65" fmla="*/ 356 h 737"/>
                <a:gd name="T66" fmla="*/ 74 w 598"/>
                <a:gd name="T67" fmla="*/ 381 h 737"/>
                <a:gd name="T68" fmla="*/ 74 w 598"/>
                <a:gd name="T69" fmla="*/ 381 h 737"/>
                <a:gd name="T70" fmla="*/ 106 w 598"/>
                <a:gd name="T71" fmla="*/ 423 h 737"/>
                <a:gd name="T72" fmla="*/ 115 w 598"/>
                <a:gd name="T73" fmla="*/ 449 h 737"/>
                <a:gd name="T74" fmla="*/ 156 w 598"/>
                <a:gd name="T75" fmla="*/ 500 h 737"/>
                <a:gd name="T76" fmla="*/ 156 w 598"/>
                <a:gd name="T77" fmla="*/ 500 h 737"/>
                <a:gd name="T78" fmla="*/ 147 w 598"/>
                <a:gd name="T79" fmla="*/ 517 h 737"/>
                <a:gd name="T80" fmla="*/ 180 w 598"/>
                <a:gd name="T81" fmla="*/ 542 h 737"/>
                <a:gd name="T82" fmla="*/ 229 w 598"/>
                <a:gd name="T83" fmla="*/ 592 h 737"/>
                <a:gd name="T84" fmla="*/ 213 w 598"/>
                <a:gd name="T85" fmla="*/ 610 h 737"/>
                <a:gd name="T86" fmla="*/ 245 w 598"/>
                <a:gd name="T87" fmla="*/ 661 h 737"/>
                <a:gd name="T88" fmla="*/ 245 w 598"/>
                <a:gd name="T89" fmla="*/ 694 h 737"/>
                <a:gd name="T90" fmla="*/ 279 w 598"/>
                <a:gd name="T91" fmla="*/ 728 h 737"/>
                <a:gd name="T92" fmla="*/ 312 w 598"/>
                <a:gd name="T93" fmla="*/ 669 h 737"/>
                <a:gd name="T94" fmla="*/ 344 w 598"/>
                <a:gd name="T95" fmla="*/ 576 h 737"/>
                <a:gd name="T96" fmla="*/ 353 w 598"/>
                <a:gd name="T97" fmla="*/ 542 h 737"/>
                <a:gd name="T98" fmla="*/ 353 w 598"/>
                <a:gd name="T99" fmla="*/ 517 h 737"/>
                <a:gd name="T100" fmla="*/ 402 w 598"/>
                <a:gd name="T101" fmla="*/ 467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98" h="737">
                  <a:moveTo>
                    <a:pt x="402" y="468"/>
                  </a:moveTo>
                  <a:lnTo>
                    <a:pt x="427" y="466"/>
                  </a:lnTo>
                  <a:lnTo>
                    <a:pt x="457" y="476"/>
                  </a:lnTo>
                  <a:lnTo>
                    <a:pt x="475" y="466"/>
                  </a:lnTo>
                  <a:lnTo>
                    <a:pt x="466" y="448"/>
                  </a:lnTo>
                  <a:lnTo>
                    <a:pt x="468" y="432"/>
                  </a:lnTo>
                  <a:lnTo>
                    <a:pt x="493" y="431"/>
                  </a:lnTo>
                  <a:lnTo>
                    <a:pt x="505" y="395"/>
                  </a:lnTo>
                  <a:lnTo>
                    <a:pt x="518" y="368"/>
                  </a:lnTo>
                  <a:lnTo>
                    <a:pt x="496" y="358"/>
                  </a:lnTo>
                  <a:lnTo>
                    <a:pt x="475" y="338"/>
                  </a:lnTo>
                  <a:lnTo>
                    <a:pt x="484" y="329"/>
                  </a:lnTo>
                  <a:lnTo>
                    <a:pt x="492" y="312"/>
                  </a:lnTo>
                  <a:lnTo>
                    <a:pt x="475" y="296"/>
                  </a:lnTo>
                  <a:lnTo>
                    <a:pt x="468" y="272"/>
                  </a:lnTo>
                  <a:lnTo>
                    <a:pt x="474" y="270"/>
                  </a:lnTo>
                  <a:lnTo>
                    <a:pt x="486" y="262"/>
                  </a:lnTo>
                  <a:lnTo>
                    <a:pt x="469" y="246"/>
                  </a:lnTo>
                  <a:lnTo>
                    <a:pt x="482" y="238"/>
                  </a:lnTo>
                  <a:lnTo>
                    <a:pt x="492" y="255"/>
                  </a:lnTo>
                  <a:lnTo>
                    <a:pt x="501" y="264"/>
                  </a:lnTo>
                  <a:lnTo>
                    <a:pt x="524" y="263"/>
                  </a:lnTo>
                  <a:lnTo>
                    <a:pt x="525" y="225"/>
                  </a:lnTo>
                  <a:lnTo>
                    <a:pt x="594" y="194"/>
                  </a:lnTo>
                  <a:lnTo>
                    <a:pt x="598" y="158"/>
                  </a:lnTo>
                  <a:lnTo>
                    <a:pt x="538" y="132"/>
                  </a:lnTo>
                  <a:lnTo>
                    <a:pt x="559" y="125"/>
                  </a:lnTo>
                  <a:lnTo>
                    <a:pt x="556" y="90"/>
                  </a:lnTo>
                  <a:lnTo>
                    <a:pt x="493" y="68"/>
                  </a:lnTo>
                  <a:lnTo>
                    <a:pt x="493" y="35"/>
                  </a:lnTo>
                  <a:lnTo>
                    <a:pt x="475" y="16"/>
                  </a:lnTo>
                  <a:lnTo>
                    <a:pt x="460" y="16"/>
                  </a:lnTo>
                  <a:lnTo>
                    <a:pt x="444" y="0"/>
                  </a:lnTo>
                  <a:lnTo>
                    <a:pt x="409" y="2"/>
                  </a:lnTo>
                  <a:lnTo>
                    <a:pt x="397" y="11"/>
                  </a:lnTo>
                  <a:lnTo>
                    <a:pt x="385" y="43"/>
                  </a:lnTo>
                  <a:lnTo>
                    <a:pt x="368" y="52"/>
                  </a:lnTo>
                  <a:lnTo>
                    <a:pt x="353" y="60"/>
                  </a:lnTo>
                  <a:lnTo>
                    <a:pt x="336" y="52"/>
                  </a:lnTo>
                  <a:lnTo>
                    <a:pt x="327" y="35"/>
                  </a:lnTo>
                  <a:lnTo>
                    <a:pt x="320" y="35"/>
                  </a:lnTo>
                  <a:lnTo>
                    <a:pt x="312" y="35"/>
                  </a:lnTo>
                  <a:lnTo>
                    <a:pt x="286" y="43"/>
                  </a:lnTo>
                  <a:lnTo>
                    <a:pt x="271" y="52"/>
                  </a:lnTo>
                  <a:lnTo>
                    <a:pt x="271" y="60"/>
                  </a:lnTo>
                  <a:lnTo>
                    <a:pt x="271" y="69"/>
                  </a:lnTo>
                  <a:lnTo>
                    <a:pt x="245" y="94"/>
                  </a:lnTo>
                  <a:lnTo>
                    <a:pt x="229" y="111"/>
                  </a:lnTo>
                  <a:lnTo>
                    <a:pt x="213" y="102"/>
                  </a:lnTo>
                  <a:lnTo>
                    <a:pt x="197" y="94"/>
                  </a:lnTo>
                  <a:lnTo>
                    <a:pt x="172" y="94"/>
                  </a:lnTo>
                  <a:lnTo>
                    <a:pt x="156" y="85"/>
                  </a:lnTo>
                  <a:lnTo>
                    <a:pt x="147" y="94"/>
                  </a:lnTo>
                  <a:lnTo>
                    <a:pt x="139" y="102"/>
                  </a:lnTo>
                  <a:lnTo>
                    <a:pt x="147" y="111"/>
                  </a:lnTo>
                  <a:lnTo>
                    <a:pt x="163" y="119"/>
                  </a:lnTo>
                  <a:lnTo>
                    <a:pt x="147" y="119"/>
                  </a:lnTo>
                  <a:lnTo>
                    <a:pt x="139" y="127"/>
                  </a:lnTo>
                  <a:lnTo>
                    <a:pt x="139" y="119"/>
                  </a:lnTo>
                  <a:lnTo>
                    <a:pt x="90" y="111"/>
                  </a:lnTo>
                  <a:lnTo>
                    <a:pt x="98" y="153"/>
                  </a:lnTo>
                  <a:lnTo>
                    <a:pt x="49" y="153"/>
                  </a:lnTo>
                  <a:lnTo>
                    <a:pt x="40" y="169"/>
                  </a:lnTo>
                  <a:lnTo>
                    <a:pt x="7" y="144"/>
                  </a:lnTo>
                  <a:lnTo>
                    <a:pt x="0" y="179"/>
                  </a:lnTo>
                  <a:lnTo>
                    <a:pt x="33" y="356"/>
                  </a:lnTo>
                  <a:lnTo>
                    <a:pt x="49" y="348"/>
                  </a:lnTo>
                  <a:lnTo>
                    <a:pt x="74" y="381"/>
                  </a:lnTo>
                  <a:lnTo>
                    <a:pt x="81" y="381"/>
                  </a:lnTo>
                  <a:lnTo>
                    <a:pt x="74" y="381"/>
                  </a:lnTo>
                  <a:lnTo>
                    <a:pt x="81" y="390"/>
                  </a:lnTo>
                  <a:lnTo>
                    <a:pt x="106" y="423"/>
                  </a:lnTo>
                  <a:lnTo>
                    <a:pt x="115" y="440"/>
                  </a:lnTo>
                  <a:lnTo>
                    <a:pt x="115" y="449"/>
                  </a:lnTo>
                  <a:lnTo>
                    <a:pt x="139" y="475"/>
                  </a:lnTo>
                  <a:lnTo>
                    <a:pt x="156" y="500"/>
                  </a:lnTo>
                  <a:lnTo>
                    <a:pt x="163" y="500"/>
                  </a:lnTo>
                  <a:lnTo>
                    <a:pt x="156" y="500"/>
                  </a:lnTo>
                  <a:lnTo>
                    <a:pt x="156" y="508"/>
                  </a:lnTo>
                  <a:lnTo>
                    <a:pt x="147" y="517"/>
                  </a:lnTo>
                  <a:lnTo>
                    <a:pt x="163" y="525"/>
                  </a:lnTo>
                  <a:lnTo>
                    <a:pt x="180" y="542"/>
                  </a:lnTo>
                  <a:lnTo>
                    <a:pt x="204" y="567"/>
                  </a:lnTo>
                  <a:lnTo>
                    <a:pt x="229" y="592"/>
                  </a:lnTo>
                  <a:lnTo>
                    <a:pt x="221" y="602"/>
                  </a:lnTo>
                  <a:lnTo>
                    <a:pt x="213" y="610"/>
                  </a:lnTo>
                  <a:lnTo>
                    <a:pt x="229" y="627"/>
                  </a:lnTo>
                  <a:lnTo>
                    <a:pt x="245" y="661"/>
                  </a:lnTo>
                  <a:lnTo>
                    <a:pt x="245" y="669"/>
                  </a:lnTo>
                  <a:lnTo>
                    <a:pt x="245" y="694"/>
                  </a:lnTo>
                  <a:lnTo>
                    <a:pt x="245" y="728"/>
                  </a:lnTo>
                  <a:lnTo>
                    <a:pt x="279" y="728"/>
                  </a:lnTo>
                  <a:lnTo>
                    <a:pt x="303" y="737"/>
                  </a:lnTo>
                  <a:lnTo>
                    <a:pt x="312" y="669"/>
                  </a:lnTo>
                  <a:lnTo>
                    <a:pt x="320" y="610"/>
                  </a:lnTo>
                  <a:lnTo>
                    <a:pt x="344" y="576"/>
                  </a:lnTo>
                  <a:lnTo>
                    <a:pt x="361" y="550"/>
                  </a:lnTo>
                  <a:lnTo>
                    <a:pt x="353" y="542"/>
                  </a:lnTo>
                  <a:lnTo>
                    <a:pt x="344" y="542"/>
                  </a:lnTo>
                  <a:lnTo>
                    <a:pt x="353" y="517"/>
                  </a:lnTo>
                  <a:lnTo>
                    <a:pt x="370" y="474"/>
                  </a:lnTo>
                  <a:lnTo>
                    <a:pt x="402" y="467"/>
                  </a:lnTo>
                </a:path>
              </a:pathLst>
            </a:custGeom>
            <a:solidFill>
              <a:srgbClr val="99CC00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703263" y="2873375"/>
              <a:ext cx="147637" cy="193675"/>
            </a:xfrm>
            <a:custGeom>
              <a:avLst/>
              <a:gdLst>
                <a:gd name="T0" fmla="*/ 61 w 98"/>
                <a:gd name="T1" fmla="*/ 127 h 128"/>
                <a:gd name="T2" fmla="*/ 70 w 98"/>
                <a:gd name="T3" fmla="*/ 108 h 128"/>
                <a:gd name="T4" fmla="*/ 88 w 98"/>
                <a:gd name="T5" fmla="*/ 108 h 128"/>
                <a:gd name="T6" fmla="*/ 97 w 98"/>
                <a:gd name="T7" fmla="*/ 99 h 128"/>
                <a:gd name="T8" fmla="*/ 79 w 98"/>
                <a:gd name="T9" fmla="*/ 81 h 128"/>
                <a:gd name="T10" fmla="*/ 79 w 98"/>
                <a:gd name="T11" fmla="*/ 27 h 128"/>
                <a:gd name="T12" fmla="*/ 70 w 98"/>
                <a:gd name="T13" fmla="*/ 36 h 128"/>
                <a:gd name="T14" fmla="*/ 35 w 98"/>
                <a:gd name="T15" fmla="*/ 0 h 128"/>
                <a:gd name="T16" fmla="*/ 17 w 98"/>
                <a:gd name="T17" fmla="*/ 0 h 128"/>
                <a:gd name="T18" fmla="*/ 0 w 98"/>
                <a:gd name="T19" fmla="*/ 27 h 128"/>
                <a:gd name="T20" fmla="*/ 61 w 98"/>
                <a:gd name="T21" fmla="*/ 127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8" h="128">
                  <a:moveTo>
                    <a:pt x="61" y="127"/>
                  </a:moveTo>
                  <a:lnTo>
                    <a:pt x="70" y="108"/>
                  </a:lnTo>
                  <a:lnTo>
                    <a:pt x="88" y="108"/>
                  </a:lnTo>
                  <a:lnTo>
                    <a:pt x="97" y="99"/>
                  </a:lnTo>
                  <a:lnTo>
                    <a:pt x="79" y="81"/>
                  </a:lnTo>
                  <a:lnTo>
                    <a:pt x="79" y="27"/>
                  </a:lnTo>
                  <a:lnTo>
                    <a:pt x="70" y="36"/>
                  </a:lnTo>
                  <a:lnTo>
                    <a:pt x="35" y="0"/>
                  </a:lnTo>
                  <a:lnTo>
                    <a:pt x="17" y="0"/>
                  </a:lnTo>
                  <a:lnTo>
                    <a:pt x="0" y="27"/>
                  </a:lnTo>
                  <a:lnTo>
                    <a:pt x="61" y="127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1" name="Freeform 12"/>
            <p:cNvSpPr>
              <a:spLocks/>
            </p:cNvSpPr>
            <p:nvPr/>
          </p:nvSpPr>
          <p:spPr bwMode="auto">
            <a:xfrm>
              <a:off x="3226940" y="2274887"/>
              <a:ext cx="3226248" cy="3286545"/>
            </a:xfrm>
            <a:custGeom>
              <a:avLst/>
              <a:gdLst>
                <a:gd name="T0" fmla="*/ 599 w 1989"/>
                <a:gd name="T1" fmla="*/ 1219 h 2059"/>
                <a:gd name="T2" fmla="*/ 575 w 1989"/>
                <a:gd name="T3" fmla="*/ 1152 h 2059"/>
                <a:gd name="T4" fmla="*/ 599 w 1989"/>
                <a:gd name="T5" fmla="*/ 1042 h 2059"/>
                <a:gd name="T6" fmla="*/ 583 w 1989"/>
                <a:gd name="T7" fmla="*/ 940 h 2059"/>
                <a:gd name="T8" fmla="*/ 567 w 1989"/>
                <a:gd name="T9" fmla="*/ 830 h 2059"/>
                <a:gd name="T10" fmla="*/ 542 w 1989"/>
                <a:gd name="T11" fmla="*/ 736 h 2059"/>
                <a:gd name="T12" fmla="*/ 517 w 1989"/>
                <a:gd name="T13" fmla="*/ 644 h 2059"/>
                <a:gd name="T14" fmla="*/ 542 w 1989"/>
                <a:gd name="T15" fmla="*/ 550 h 2059"/>
                <a:gd name="T16" fmla="*/ 534 w 1989"/>
                <a:gd name="T17" fmla="*/ 457 h 2059"/>
                <a:gd name="T18" fmla="*/ 517 w 1989"/>
                <a:gd name="T19" fmla="*/ 372 h 2059"/>
                <a:gd name="T20" fmla="*/ 583 w 1989"/>
                <a:gd name="T21" fmla="*/ 474 h 2059"/>
                <a:gd name="T22" fmla="*/ 567 w 1989"/>
                <a:gd name="T23" fmla="*/ 575 h 2059"/>
                <a:gd name="T24" fmla="*/ 558 w 1989"/>
                <a:gd name="T25" fmla="*/ 398 h 2059"/>
                <a:gd name="T26" fmla="*/ 665 w 1989"/>
                <a:gd name="T27" fmla="*/ 254 h 2059"/>
                <a:gd name="T28" fmla="*/ 822 w 1989"/>
                <a:gd name="T29" fmla="*/ 144 h 2059"/>
                <a:gd name="T30" fmla="*/ 911 w 1989"/>
                <a:gd name="T31" fmla="*/ 127 h 2059"/>
                <a:gd name="T32" fmla="*/ 937 w 1989"/>
                <a:gd name="T33" fmla="*/ 50 h 2059"/>
                <a:gd name="T34" fmla="*/ 1002 w 1989"/>
                <a:gd name="T35" fmla="*/ 42 h 2059"/>
                <a:gd name="T36" fmla="*/ 1076 w 1989"/>
                <a:gd name="T37" fmla="*/ 59 h 2059"/>
                <a:gd name="T38" fmla="*/ 1192 w 1989"/>
                <a:gd name="T39" fmla="*/ 152 h 2059"/>
                <a:gd name="T40" fmla="*/ 1158 w 1989"/>
                <a:gd name="T41" fmla="*/ 271 h 2059"/>
                <a:gd name="T42" fmla="*/ 1183 w 1989"/>
                <a:gd name="T43" fmla="*/ 279 h 2059"/>
                <a:gd name="T44" fmla="*/ 1241 w 1989"/>
                <a:gd name="T45" fmla="*/ 398 h 2059"/>
                <a:gd name="T46" fmla="*/ 1216 w 1989"/>
                <a:gd name="T47" fmla="*/ 533 h 2059"/>
                <a:gd name="T48" fmla="*/ 1158 w 1989"/>
                <a:gd name="T49" fmla="*/ 609 h 2059"/>
                <a:gd name="T50" fmla="*/ 1192 w 1989"/>
                <a:gd name="T51" fmla="*/ 719 h 2059"/>
                <a:gd name="T52" fmla="*/ 1192 w 1989"/>
                <a:gd name="T53" fmla="*/ 804 h 2059"/>
                <a:gd name="T54" fmla="*/ 1216 w 1989"/>
                <a:gd name="T55" fmla="*/ 915 h 2059"/>
                <a:gd name="T56" fmla="*/ 1290 w 1989"/>
                <a:gd name="T57" fmla="*/ 965 h 2059"/>
                <a:gd name="T58" fmla="*/ 1347 w 1989"/>
                <a:gd name="T59" fmla="*/ 1008 h 2059"/>
                <a:gd name="T60" fmla="*/ 1372 w 1989"/>
                <a:gd name="T61" fmla="*/ 1084 h 2059"/>
                <a:gd name="T62" fmla="*/ 1413 w 1989"/>
                <a:gd name="T63" fmla="*/ 1227 h 2059"/>
                <a:gd name="T64" fmla="*/ 1454 w 1989"/>
                <a:gd name="T65" fmla="*/ 1254 h 2059"/>
                <a:gd name="T66" fmla="*/ 1520 w 1989"/>
                <a:gd name="T67" fmla="*/ 1244 h 2059"/>
                <a:gd name="T68" fmla="*/ 1602 w 1989"/>
                <a:gd name="T69" fmla="*/ 1100 h 2059"/>
                <a:gd name="T70" fmla="*/ 1693 w 1989"/>
                <a:gd name="T71" fmla="*/ 1135 h 2059"/>
                <a:gd name="T72" fmla="*/ 1750 w 1989"/>
                <a:gd name="T73" fmla="*/ 1211 h 2059"/>
                <a:gd name="T74" fmla="*/ 1816 w 1989"/>
                <a:gd name="T75" fmla="*/ 1296 h 2059"/>
                <a:gd name="T76" fmla="*/ 1873 w 1989"/>
                <a:gd name="T77" fmla="*/ 1329 h 2059"/>
                <a:gd name="T78" fmla="*/ 1940 w 1989"/>
                <a:gd name="T79" fmla="*/ 1355 h 2059"/>
                <a:gd name="T80" fmla="*/ 1972 w 1989"/>
                <a:gd name="T81" fmla="*/ 1448 h 2059"/>
                <a:gd name="T82" fmla="*/ 1964 w 1989"/>
                <a:gd name="T83" fmla="*/ 1550 h 2059"/>
                <a:gd name="T84" fmla="*/ 1981 w 1989"/>
                <a:gd name="T85" fmla="*/ 1668 h 2059"/>
                <a:gd name="T86" fmla="*/ 1841 w 1989"/>
                <a:gd name="T87" fmla="*/ 1795 h 2059"/>
                <a:gd name="T88" fmla="*/ 1685 w 1989"/>
                <a:gd name="T89" fmla="*/ 1906 h 2059"/>
                <a:gd name="T90" fmla="*/ 1503 w 1989"/>
                <a:gd name="T91" fmla="*/ 1906 h 2059"/>
                <a:gd name="T92" fmla="*/ 1282 w 1989"/>
                <a:gd name="T93" fmla="*/ 1922 h 2059"/>
                <a:gd name="T94" fmla="*/ 1109 w 1989"/>
                <a:gd name="T95" fmla="*/ 1812 h 2059"/>
                <a:gd name="T96" fmla="*/ 1117 w 1989"/>
                <a:gd name="T97" fmla="*/ 1956 h 2059"/>
                <a:gd name="T98" fmla="*/ 928 w 1989"/>
                <a:gd name="T99" fmla="*/ 1956 h 2059"/>
                <a:gd name="T100" fmla="*/ 731 w 1989"/>
                <a:gd name="T101" fmla="*/ 1999 h 2059"/>
                <a:gd name="T102" fmla="*/ 573 w 1989"/>
                <a:gd name="T103" fmla="*/ 2034 h 2059"/>
                <a:gd name="T104" fmla="*/ 480 w 1989"/>
                <a:gd name="T105" fmla="*/ 1934 h 2059"/>
                <a:gd name="T106" fmla="*/ 328 w 1989"/>
                <a:gd name="T107" fmla="*/ 1910 h 2059"/>
                <a:gd name="T108" fmla="*/ 203 w 1989"/>
                <a:gd name="T109" fmla="*/ 1658 h 2059"/>
                <a:gd name="T110" fmla="*/ 47 w 1989"/>
                <a:gd name="T111" fmla="*/ 1597 h 2059"/>
                <a:gd name="T112" fmla="*/ 48 w 1989"/>
                <a:gd name="T113" fmla="*/ 1480 h 2059"/>
                <a:gd name="T114" fmla="*/ 85 w 1989"/>
                <a:gd name="T115" fmla="*/ 1322 h 2059"/>
                <a:gd name="T116" fmla="*/ 253 w 1989"/>
                <a:gd name="T117" fmla="*/ 1334 h 2059"/>
                <a:gd name="T118" fmla="*/ 407 w 1989"/>
                <a:gd name="T119" fmla="*/ 1238 h 20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89" h="2059">
                  <a:moveTo>
                    <a:pt x="527" y="1230"/>
                  </a:moveTo>
                  <a:lnTo>
                    <a:pt x="567" y="1262"/>
                  </a:lnTo>
                  <a:lnTo>
                    <a:pt x="567" y="1244"/>
                  </a:lnTo>
                  <a:lnTo>
                    <a:pt x="567" y="1236"/>
                  </a:lnTo>
                  <a:lnTo>
                    <a:pt x="575" y="1227"/>
                  </a:lnTo>
                  <a:lnTo>
                    <a:pt x="599" y="1219"/>
                  </a:lnTo>
                  <a:lnTo>
                    <a:pt x="624" y="1202"/>
                  </a:lnTo>
                  <a:lnTo>
                    <a:pt x="624" y="1194"/>
                  </a:lnTo>
                  <a:lnTo>
                    <a:pt x="624" y="1185"/>
                  </a:lnTo>
                  <a:lnTo>
                    <a:pt x="599" y="1177"/>
                  </a:lnTo>
                  <a:lnTo>
                    <a:pt x="583" y="1169"/>
                  </a:lnTo>
                  <a:lnTo>
                    <a:pt x="575" y="1152"/>
                  </a:lnTo>
                  <a:lnTo>
                    <a:pt x="575" y="1135"/>
                  </a:lnTo>
                  <a:lnTo>
                    <a:pt x="583" y="1117"/>
                  </a:lnTo>
                  <a:lnTo>
                    <a:pt x="591" y="1100"/>
                  </a:lnTo>
                  <a:lnTo>
                    <a:pt x="608" y="1092"/>
                  </a:lnTo>
                  <a:lnTo>
                    <a:pt x="608" y="1067"/>
                  </a:lnTo>
                  <a:lnTo>
                    <a:pt x="599" y="1042"/>
                  </a:lnTo>
                  <a:lnTo>
                    <a:pt x="616" y="1025"/>
                  </a:lnTo>
                  <a:lnTo>
                    <a:pt x="632" y="1008"/>
                  </a:lnTo>
                  <a:lnTo>
                    <a:pt x="624" y="990"/>
                  </a:lnTo>
                  <a:lnTo>
                    <a:pt x="624" y="965"/>
                  </a:lnTo>
                  <a:lnTo>
                    <a:pt x="608" y="957"/>
                  </a:lnTo>
                  <a:lnTo>
                    <a:pt x="583" y="940"/>
                  </a:lnTo>
                  <a:lnTo>
                    <a:pt x="591" y="931"/>
                  </a:lnTo>
                  <a:lnTo>
                    <a:pt x="591" y="906"/>
                  </a:lnTo>
                  <a:lnTo>
                    <a:pt x="575" y="889"/>
                  </a:lnTo>
                  <a:lnTo>
                    <a:pt x="558" y="872"/>
                  </a:lnTo>
                  <a:lnTo>
                    <a:pt x="558" y="855"/>
                  </a:lnTo>
                  <a:lnTo>
                    <a:pt x="567" y="830"/>
                  </a:lnTo>
                  <a:lnTo>
                    <a:pt x="550" y="813"/>
                  </a:lnTo>
                  <a:lnTo>
                    <a:pt x="542" y="787"/>
                  </a:lnTo>
                  <a:lnTo>
                    <a:pt x="550" y="779"/>
                  </a:lnTo>
                  <a:lnTo>
                    <a:pt x="558" y="762"/>
                  </a:lnTo>
                  <a:lnTo>
                    <a:pt x="550" y="754"/>
                  </a:lnTo>
                  <a:lnTo>
                    <a:pt x="542" y="736"/>
                  </a:lnTo>
                  <a:lnTo>
                    <a:pt x="558" y="728"/>
                  </a:lnTo>
                  <a:lnTo>
                    <a:pt x="567" y="719"/>
                  </a:lnTo>
                  <a:lnTo>
                    <a:pt x="567" y="686"/>
                  </a:lnTo>
                  <a:lnTo>
                    <a:pt x="558" y="644"/>
                  </a:lnTo>
                  <a:lnTo>
                    <a:pt x="534" y="644"/>
                  </a:lnTo>
                  <a:lnTo>
                    <a:pt x="517" y="644"/>
                  </a:lnTo>
                  <a:lnTo>
                    <a:pt x="500" y="627"/>
                  </a:lnTo>
                  <a:lnTo>
                    <a:pt x="493" y="609"/>
                  </a:lnTo>
                  <a:lnTo>
                    <a:pt x="493" y="592"/>
                  </a:lnTo>
                  <a:lnTo>
                    <a:pt x="493" y="575"/>
                  </a:lnTo>
                  <a:lnTo>
                    <a:pt x="517" y="567"/>
                  </a:lnTo>
                  <a:lnTo>
                    <a:pt x="542" y="550"/>
                  </a:lnTo>
                  <a:lnTo>
                    <a:pt x="534" y="533"/>
                  </a:lnTo>
                  <a:lnTo>
                    <a:pt x="534" y="517"/>
                  </a:lnTo>
                  <a:lnTo>
                    <a:pt x="517" y="500"/>
                  </a:lnTo>
                  <a:lnTo>
                    <a:pt x="509" y="474"/>
                  </a:lnTo>
                  <a:lnTo>
                    <a:pt x="517" y="465"/>
                  </a:lnTo>
                  <a:lnTo>
                    <a:pt x="534" y="457"/>
                  </a:lnTo>
                  <a:lnTo>
                    <a:pt x="517" y="440"/>
                  </a:lnTo>
                  <a:lnTo>
                    <a:pt x="500" y="423"/>
                  </a:lnTo>
                  <a:lnTo>
                    <a:pt x="500" y="406"/>
                  </a:lnTo>
                  <a:lnTo>
                    <a:pt x="500" y="381"/>
                  </a:lnTo>
                  <a:lnTo>
                    <a:pt x="509" y="381"/>
                  </a:lnTo>
                  <a:lnTo>
                    <a:pt x="517" y="372"/>
                  </a:lnTo>
                  <a:lnTo>
                    <a:pt x="517" y="390"/>
                  </a:lnTo>
                  <a:lnTo>
                    <a:pt x="526" y="398"/>
                  </a:lnTo>
                  <a:lnTo>
                    <a:pt x="534" y="423"/>
                  </a:lnTo>
                  <a:lnTo>
                    <a:pt x="542" y="440"/>
                  </a:lnTo>
                  <a:lnTo>
                    <a:pt x="558" y="457"/>
                  </a:lnTo>
                  <a:lnTo>
                    <a:pt x="583" y="474"/>
                  </a:lnTo>
                  <a:lnTo>
                    <a:pt x="575" y="500"/>
                  </a:lnTo>
                  <a:lnTo>
                    <a:pt x="575" y="525"/>
                  </a:lnTo>
                  <a:lnTo>
                    <a:pt x="583" y="542"/>
                  </a:lnTo>
                  <a:lnTo>
                    <a:pt x="591" y="550"/>
                  </a:lnTo>
                  <a:lnTo>
                    <a:pt x="575" y="567"/>
                  </a:lnTo>
                  <a:lnTo>
                    <a:pt x="567" y="575"/>
                  </a:lnTo>
                  <a:lnTo>
                    <a:pt x="583" y="575"/>
                  </a:lnTo>
                  <a:lnTo>
                    <a:pt x="599" y="567"/>
                  </a:lnTo>
                  <a:lnTo>
                    <a:pt x="599" y="517"/>
                  </a:lnTo>
                  <a:lnTo>
                    <a:pt x="599" y="465"/>
                  </a:lnTo>
                  <a:lnTo>
                    <a:pt x="575" y="432"/>
                  </a:lnTo>
                  <a:lnTo>
                    <a:pt x="558" y="398"/>
                  </a:lnTo>
                  <a:lnTo>
                    <a:pt x="550" y="363"/>
                  </a:lnTo>
                  <a:lnTo>
                    <a:pt x="542" y="330"/>
                  </a:lnTo>
                  <a:lnTo>
                    <a:pt x="608" y="330"/>
                  </a:lnTo>
                  <a:lnTo>
                    <a:pt x="673" y="330"/>
                  </a:lnTo>
                  <a:lnTo>
                    <a:pt x="665" y="296"/>
                  </a:lnTo>
                  <a:lnTo>
                    <a:pt x="665" y="254"/>
                  </a:lnTo>
                  <a:lnTo>
                    <a:pt x="698" y="220"/>
                  </a:lnTo>
                  <a:lnTo>
                    <a:pt x="740" y="186"/>
                  </a:lnTo>
                  <a:lnTo>
                    <a:pt x="772" y="177"/>
                  </a:lnTo>
                  <a:lnTo>
                    <a:pt x="813" y="169"/>
                  </a:lnTo>
                  <a:lnTo>
                    <a:pt x="813" y="161"/>
                  </a:lnTo>
                  <a:lnTo>
                    <a:pt x="822" y="144"/>
                  </a:lnTo>
                  <a:lnTo>
                    <a:pt x="838" y="144"/>
                  </a:lnTo>
                  <a:lnTo>
                    <a:pt x="863" y="144"/>
                  </a:lnTo>
                  <a:lnTo>
                    <a:pt x="863" y="161"/>
                  </a:lnTo>
                  <a:lnTo>
                    <a:pt x="863" y="169"/>
                  </a:lnTo>
                  <a:lnTo>
                    <a:pt x="887" y="152"/>
                  </a:lnTo>
                  <a:lnTo>
                    <a:pt x="911" y="127"/>
                  </a:lnTo>
                  <a:lnTo>
                    <a:pt x="911" y="118"/>
                  </a:lnTo>
                  <a:lnTo>
                    <a:pt x="911" y="101"/>
                  </a:lnTo>
                  <a:lnTo>
                    <a:pt x="937" y="101"/>
                  </a:lnTo>
                  <a:lnTo>
                    <a:pt x="961" y="101"/>
                  </a:lnTo>
                  <a:lnTo>
                    <a:pt x="945" y="76"/>
                  </a:lnTo>
                  <a:lnTo>
                    <a:pt x="937" y="50"/>
                  </a:lnTo>
                  <a:lnTo>
                    <a:pt x="945" y="25"/>
                  </a:lnTo>
                  <a:lnTo>
                    <a:pt x="961" y="0"/>
                  </a:lnTo>
                  <a:lnTo>
                    <a:pt x="994" y="8"/>
                  </a:lnTo>
                  <a:lnTo>
                    <a:pt x="1027" y="8"/>
                  </a:lnTo>
                  <a:lnTo>
                    <a:pt x="1010" y="25"/>
                  </a:lnTo>
                  <a:lnTo>
                    <a:pt x="1002" y="42"/>
                  </a:lnTo>
                  <a:lnTo>
                    <a:pt x="1019" y="42"/>
                  </a:lnTo>
                  <a:lnTo>
                    <a:pt x="1035" y="42"/>
                  </a:lnTo>
                  <a:lnTo>
                    <a:pt x="1035" y="67"/>
                  </a:lnTo>
                  <a:lnTo>
                    <a:pt x="1035" y="84"/>
                  </a:lnTo>
                  <a:lnTo>
                    <a:pt x="1051" y="76"/>
                  </a:lnTo>
                  <a:lnTo>
                    <a:pt x="1076" y="59"/>
                  </a:lnTo>
                  <a:lnTo>
                    <a:pt x="1117" y="67"/>
                  </a:lnTo>
                  <a:lnTo>
                    <a:pt x="1158" y="67"/>
                  </a:lnTo>
                  <a:lnTo>
                    <a:pt x="1158" y="92"/>
                  </a:lnTo>
                  <a:lnTo>
                    <a:pt x="1166" y="109"/>
                  </a:lnTo>
                  <a:lnTo>
                    <a:pt x="1175" y="135"/>
                  </a:lnTo>
                  <a:lnTo>
                    <a:pt x="1192" y="152"/>
                  </a:lnTo>
                  <a:lnTo>
                    <a:pt x="1158" y="203"/>
                  </a:lnTo>
                  <a:lnTo>
                    <a:pt x="1093" y="305"/>
                  </a:lnTo>
                  <a:lnTo>
                    <a:pt x="1068" y="347"/>
                  </a:lnTo>
                  <a:lnTo>
                    <a:pt x="1117" y="313"/>
                  </a:lnTo>
                  <a:lnTo>
                    <a:pt x="1175" y="279"/>
                  </a:lnTo>
                  <a:lnTo>
                    <a:pt x="1158" y="271"/>
                  </a:lnTo>
                  <a:lnTo>
                    <a:pt x="1150" y="262"/>
                  </a:lnTo>
                  <a:lnTo>
                    <a:pt x="1166" y="245"/>
                  </a:lnTo>
                  <a:lnTo>
                    <a:pt x="1183" y="228"/>
                  </a:lnTo>
                  <a:lnTo>
                    <a:pt x="1183" y="245"/>
                  </a:lnTo>
                  <a:lnTo>
                    <a:pt x="1192" y="254"/>
                  </a:lnTo>
                  <a:lnTo>
                    <a:pt x="1183" y="279"/>
                  </a:lnTo>
                  <a:lnTo>
                    <a:pt x="1183" y="296"/>
                  </a:lnTo>
                  <a:lnTo>
                    <a:pt x="1192" y="321"/>
                  </a:lnTo>
                  <a:lnTo>
                    <a:pt x="1199" y="347"/>
                  </a:lnTo>
                  <a:lnTo>
                    <a:pt x="1216" y="363"/>
                  </a:lnTo>
                  <a:lnTo>
                    <a:pt x="1241" y="381"/>
                  </a:lnTo>
                  <a:lnTo>
                    <a:pt x="1241" y="398"/>
                  </a:lnTo>
                  <a:lnTo>
                    <a:pt x="1241" y="415"/>
                  </a:lnTo>
                  <a:lnTo>
                    <a:pt x="1249" y="432"/>
                  </a:lnTo>
                  <a:lnTo>
                    <a:pt x="1265" y="440"/>
                  </a:lnTo>
                  <a:lnTo>
                    <a:pt x="1241" y="474"/>
                  </a:lnTo>
                  <a:lnTo>
                    <a:pt x="1216" y="508"/>
                  </a:lnTo>
                  <a:lnTo>
                    <a:pt x="1216" y="533"/>
                  </a:lnTo>
                  <a:lnTo>
                    <a:pt x="1216" y="559"/>
                  </a:lnTo>
                  <a:lnTo>
                    <a:pt x="1199" y="567"/>
                  </a:lnTo>
                  <a:lnTo>
                    <a:pt x="1183" y="567"/>
                  </a:lnTo>
                  <a:lnTo>
                    <a:pt x="1166" y="584"/>
                  </a:lnTo>
                  <a:lnTo>
                    <a:pt x="1150" y="601"/>
                  </a:lnTo>
                  <a:lnTo>
                    <a:pt x="1158" y="609"/>
                  </a:lnTo>
                  <a:lnTo>
                    <a:pt x="1175" y="627"/>
                  </a:lnTo>
                  <a:lnTo>
                    <a:pt x="1183" y="652"/>
                  </a:lnTo>
                  <a:lnTo>
                    <a:pt x="1192" y="669"/>
                  </a:lnTo>
                  <a:lnTo>
                    <a:pt x="1192" y="686"/>
                  </a:lnTo>
                  <a:lnTo>
                    <a:pt x="1192" y="702"/>
                  </a:lnTo>
                  <a:lnTo>
                    <a:pt x="1192" y="719"/>
                  </a:lnTo>
                  <a:lnTo>
                    <a:pt x="1199" y="728"/>
                  </a:lnTo>
                  <a:lnTo>
                    <a:pt x="1183" y="754"/>
                  </a:lnTo>
                  <a:lnTo>
                    <a:pt x="1175" y="771"/>
                  </a:lnTo>
                  <a:lnTo>
                    <a:pt x="1183" y="779"/>
                  </a:lnTo>
                  <a:lnTo>
                    <a:pt x="1192" y="779"/>
                  </a:lnTo>
                  <a:lnTo>
                    <a:pt x="1192" y="804"/>
                  </a:lnTo>
                  <a:lnTo>
                    <a:pt x="1199" y="821"/>
                  </a:lnTo>
                  <a:lnTo>
                    <a:pt x="1216" y="838"/>
                  </a:lnTo>
                  <a:lnTo>
                    <a:pt x="1233" y="846"/>
                  </a:lnTo>
                  <a:lnTo>
                    <a:pt x="1224" y="872"/>
                  </a:lnTo>
                  <a:lnTo>
                    <a:pt x="1216" y="889"/>
                  </a:lnTo>
                  <a:lnTo>
                    <a:pt x="1216" y="915"/>
                  </a:lnTo>
                  <a:lnTo>
                    <a:pt x="1224" y="931"/>
                  </a:lnTo>
                  <a:lnTo>
                    <a:pt x="1257" y="931"/>
                  </a:lnTo>
                  <a:lnTo>
                    <a:pt x="1290" y="931"/>
                  </a:lnTo>
                  <a:lnTo>
                    <a:pt x="1290" y="948"/>
                  </a:lnTo>
                  <a:lnTo>
                    <a:pt x="1298" y="957"/>
                  </a:lnTo>
                  <a:lnTo>
                    <a:pt x="1290" y="965"/>
                  </a:lnTo>
                  <a:lnTo>
                    <a:pt x="1298" y="965"/>
                  </a:lnTo>
                  <a:lnTo>
                    <a:pt x="1298" y="957"/>
                  </a:lnTo>
                  <a:lnTo>
                    <a:pt x="1306" y="965"/>
                  </a:lnTo>
                  <a:lnTo>
                    <a:pt x="1315" y="973"/>
                  </a:lnTo>
                  <a:lnTo>
                    <a:pt x="1331" y="990"/>
                  </a:lnTo>
                  <a:lnTo>
                    <a:pt x="1347" y="1008"/>
                  </a:lnTo>
                  <a:lnTo>
                    <a:pt x="1347" y="1033"/>
                  </a:lnTo>
                  <a:lnTo>
                    <a:pt x="1356" y="1050"/>
                  </a:lnTo>
                  <a:lnTo>
                    <a:pt x="1364" y="1058"/>
                  </a:lnTo>
                  <a:lnTo>
                    <a:pt x="1380" y="1058"/>
                  </a:lnTo>
                  <a:lnTo>
                    <a:pt x="1372" y="1075"/>
                  </a:lnTo>
                  <a:lnTo>
                    <a:pt x="1372" y="1084"/>
                  </a:lnTo>
                  <a:lnTo>
                    <a:pt x="1372" y="1100"/>
                  </a:lnTo>
                  <a:lnTo>
                    <a:pt x="1380" y="1109"/>
                  </a:lnTo>
                  <a:lnTo>
                    <a:pt x="1397" y="1127"/>
                  </a:lnTo>
                  <a:lnTo>
                    <a:pt x="1421" y="1135"/>
                  </a:lnTo>
                  <a:lnTo>
                    <a:pt x="1413" y="1185"/>
                  </a:lnTo>
                  <a:lnTo>
                    <a:pt x="1413" y="1227"/>
                  </a:lnTo>
                  <a:lnTo>
                    <a:pt x="1413" y="1254"/>
                  </a:lnTo>
                  <a:lnTo>
                    <a:pt x="1421" y="1270"/>
                  </a:lnTo>
                  <a:lnTo>
                    <a:pt x="1430" y="1270"/>
                  </a:lnTo>
                  <a:lnTo>
                    <a:pt x="1446" y="1270"/>
                  </a:lnTo>
                  <a:lnTo>
                    <a:pt x="1446" y="1262"/>
                  </a:lnTo>
                  <a:lnTo>
                    <a:pt x="1454" y="1254"/>
                  </a:lnTo>
                  <a:lnTo>
                    <a:pt x="1479" y="1244"/>
                  </a:lnTo>
                  <a:lnTo>
                    <a:pt x="1503" y="1236"/>
                  </a:lnTo>
                  <a:lnTo>
                    <a:pt x="1503" y="1227"/>
                  </a:lnTo>
                  <a:lnTo>
                    <a:pt x="1512" y="1219"/>
                  </a:lnTo>
                  <a:lnTo>
                    <a:pt x="1512" y="1236"/>
                  </a:lnTo>
                  <a:lnTo>
                    <a:pt x="1520" y="1244"/>
                  </a:lnTo>
                  <a:lnTo>
                    <a:pt x="1536" y="1227"/>
                  </a:lnTo>
                  <a:lnTo>
                    <a:pt x="1553" y="1202"/>
                  </a:lnTo>
                  <a:lnTo>
                    <a:pt x="1561" y="1177"/>
                  </a:lnTo>
                  <a:lnTo>
                    <a:pt x="1570" y="1143"/>
                  </a:lnTo>
                  <a:lnTo>
                    <a:pt x="1586" y="1127"/>
                  </a:lnTo>
                  <a:lnTo>
                    <a:pt x="1602" y="1100"/>
                  </a:lnTo>
                  <a:lnTo>
                    <a:pt x="1618" y="1117"/>
                  </a:lnTo>
                  <a:lnTo>
                    <a:pt x="1644" y="1127"/>
                  </a:lnTo>
                  <a:lnTo>
                    <a:pt x="1652" y="1143"/>
                  </a:lnTo>
                  <a:lnTo>
                    <a:pt x="1668" y="1160"/>
                  </a:lnTo>
                  <a:lnTo>
                    <a:pt x="1676" y="1152"/>
                  </a:lnTo>
                  <a:lnTo>
                    <a:pt x="1693" y="1135"/>
                  </a:lnTo>
                  <a:lnTo>
                    <a:pt x="1700" y="1143"/>
                  </a:lnTo>
                  <a:lnTo>
                    <a:pt x="1717" y="1143"/>
                  </a:lnTo>
                  <a:lnTo>
                    <a:pt x="1717" y="1160"/>
                  </a:lnTo>
                  <a:lnTo>
                    <a:pt x="1726" y="1169"/>
                  </a:lnTo>
                  <a:lnTo>
                    <a:pt x="1734" y="1194"/>
                  </a:lnTo>
                  <a:lnTo>
                    <a:pt x="1750" y="1211"/>
                  </a:lnTo>
                  <a:lnTo>
                    <a:pt x="1750" y="1227"/>
                  </a:lnTo>
                  <a:lnTo>
                    <a:pt x="1758" y="1236"/>
                  </a:lnTo>
                  <a:lnTo>
                    <a:pt x="1775" y="1244"/>
                  </a:lnTo>
                  <a:lnTo>
                    <a:pt x="1799" y="1270"/>
                  </a:lnTo>
                  <a:lnTo>
                    <a:pt x="1816" y="1279"/>
                  </a:lnTo>
                  <a:lnTo>
                    <a:pt x="1816" y="1296"/>
                  </a:lnTo>
                  <a:lnTo>
                    <a:pt x="1816" y="1304"/>
                  </a:lnTo>
                  <a:lnTo>
                    <a:pt x="1832" y="1304"/>
                  </a:lnTo>
                  <a:lnTo>
                    <a:pt x="1857" y="1304"/>
                  </a:lnTo>
                  <a:lnTo>
                    <a:pt x="1857" y="1329"/>
                  </a:lnTo>
                  <a:lnTo>
                    <a:pt x="1857" y="1346"/>
                  </a:lnTo>
                  <a:lnTo>
                    <a:pt x="1873" y="1329"/>
                  </a:lnTo>
                  <a:lnTo>
                    <a:pt x="1898" y="1312"/>
                  </a:lnTo>
                  <a:lnTo>
                    <a:pt x="1898" y="1329"/>
                  </a:lnTo>
                  <a:lnTo>
                    <a:pt x="1906" y="1338"/>
                  </a:lnTo>
                  <a:lnTo>
                    <a:pt x="1923" y="1338"/>
                  </a:lnTo>
                  <a:lnTo>
                    <a:pt x="1940" y="1338"/>
                  </a:lnTo>
                  <a:lnTo>
                    <a:pt x="1940" y="1355"/>
                  </a:lnTo>
                  <a:lnTo>
                    <a:pt x="1940" y="1363"/>
                  </a:lnTo>
                  <a:lnTo>
                    <a:pt x="1947" y="1381"/>
                  </a:lnTo>
                  <a:lnTo>
                    <a:pt x="1955" y="1397"/>
                  </a:lnTo>
                  <a:lnTo>
                    <a:pt x="1955" y="1414"/>
                  </a:lnTo>
                  <a:lnTo>
                    <a:pt x="1964" y="1431"/>
                  </a:lnTo>
                  <a:lnTo>
                    <a:pt x="1972" y="1448"/>
                  </a:lnTo>
                  <a:lnTo>
                    <a:pt x="1989" y="1465"/>
                  </a:lnTo>
                  <a:lnTo>
                    <a:pt x="1964" y="1508"/>
                  </a:lnTo>
                  <a:lnTo>
                    <a:pt x="1940" y="1541"/>
                  </a:lnTo>
                  <a:lnTo>
                    <a:pt x="1947" y="1550"/>
                  </a:lnTo>
                  <a:lnTo>
                    <a:pt x="1955" y="1558"/>
                  </a:lnTo>
                  <a:lnTo>
                    <a:pt x="1964" y="1550"/>
                  </a:lnTo>
                  <a:lnTo>
                    <a:pt x="1972" y="1541"/>
                  </a:lnTo>
                  <a:lnTo>
                    <a:pt x="1981" y="1558"/>
                  </a:lnTo>
                  <a:lnTo>
                    <a:pt x="1989" y="1575"/>
                  </a:lnTo>
                  <a:lnTo>
                    <a:pt x="1981" y="1592"/>
                  </a:lnTo>
                  <a:lnTo>
                    <a:pt x="1972" y="1600"/>
                  </a:lnTo>
                  <a:lnTo>
                    <a:pt x="1981" y="1668"/>
                  </a:lnTo>
                  <a:lnTo>
                    <a:pt x="1989" y="1727"/>
                  </a:lnTo>
                  <a:lnTo>
                    <a:pt x="1964" y="1762"/>
                  </a:lnTo>
                  <a:lnTo>
                    <a:pt x="1947" y="1787"/>
                  </a:lnTo>
                  <a:lnTo>
                    <a:pt x="1914" y="1795"/>
                  </a:lnTo>
                  <a:lnTo>
                    <a:pt x="1865" y="1795"/>
                  </a:lnTo>
                  <a:lnTo>
                    <a:pt x="1841" y="1795"/>
                  </a:lnTo>
                  <a:lnTo>
                    <a:pt x="1816" y="1795"/>
                  </a:lnTo>
                  <a:lnTo>
                    <a:pt x="1791" y="1787"/>
                  </a:lnTo>
                  <a:lnTo>
                    <a:pt x="1758" y="1829"/>
                  </a:lnTo>
                  <a:lnTo>
                    <a:pt x="1734" y="1863"/>
                  </a:lnTo>
                  <a:lnTo>
                    <a:pt x="1709" y="1889"/>
                  </a:lnTo>
                  <a:lnTo>
                    <a:pt x="1685" y="1906"/>
                  </a:lnTo>
                  <a:lnTo>
                    <a:pt x="1611" y="1922"/>
                  </a:lnTo>
                  <a:lnTo>
                    <a:pt x="1536" y="1939"/>
                  </a:lnTo>
                  <a:lnTo>
                    <a:pt x="1529" y="1922"/>
                  </a:lnTo>
                  <a:lnTo>
                    <a:pt x="1529" y="1906"/>
                  </a:lnTo>
                  <a:lnTo>
                    <a:pt x="1512" y="1906"/>
                  </a:lnTo>
                  <a:lnTo>
                    <a:pt x="1503" y="1906"/>
                  </a:lnTo>
                  <a:lnTo>
                    <a:pt x="1454" y="1906"/>
                  </a:lnTo>
                  <a:lnTo>
                    <a:pt x="1405" y="1897"/>
                  </a:lnTo>
                  <a:lnTo>
                    <a:pt x="1364" y="1914"/>
                  </a:lnTo>
                  <a:lnTo>
                    <a:pt x="1331" y="1931"/>
                  </a:lnTo>
                  <a:lnTo>
                    <a:pt x="1306" y="1931"/>
                  </a:lnTo>
                  <a:lnTo>
                    <a:pt x="1282" y="1922"/>
                  </a:lnTo>
                  <a:lnTo>
                    <a:pt x="1265" y="1889"/>
                  </a:lnTo>
                  <a:lnTo>
                    <a:pt x="1249" y="1854"/>
                  </a:lnTo>
                  <a:lnTo>
                    <a:pt x="1216" y="1854"/>
                  </a:lnTo>
                  <a:lnTo>
                    <a:pt x="1183" y="1854"/>
                  </a:lnTo>
                  <a:lnTo>
                    <a:pt x="1142" y="1837"/>
                  </a:lnTo>
                  <a:lnTo>
                    <a:pt x="1109" y="1812"/>
                  </a:lnTo>
                  <a:lnTo>
                    <a:pt x="1109" y="1829"/>
                  </a:lnTo>
                  <a:lnTo>
                    <a:pt x="1109" y="1846"/>
                  </a:lnTo>
                  <a:lnTo>
                    <a:pt x="1093" y="1880"/>
                  </a:lnTo>
                  <a:lnTo>
                    <a:pt x="1084" y="1906"/>
                  </a:lnTo>
                  <a:lnTo>
                    <a:pt x="1101" y="1931"/>
                  </a:lnTo>
                  <a:lnTo>
                    <a:pt x="1117" y="1956"/>
                  </a:lnTo>
                  <a:lnTo>
                    <a:pt x="1084" y="1981"/>
                  </a:lnTo>
                  <a:lnTo>
                    <a:pt x="1060" y="1999"/>
                  </a:lnTo>
                  <a:lnTo>
                    <a:pt x="1002" y="1999"/>
                  </a:lnTo>
                  <a:lnTo>
                    <a:pt x="952" y="1999"/>
                  </a:lnTo>
                  <a:lnTo>
                    <a:pt x="937" y="1981"/>
                  </a:lnTo>
                  <a:lnTo>
                    <a:pt x="928" y="1956"/>
                  </a:lnTo>
                  <a:lnTo>
                    <a:pt x="904" y="1965"/>
                  </a:lnTo>
                  <a:lnTo>
                    <a:pt x="887" y="1965"/>
                  </a:lnTo>
                  <a:lnTo>
                    <a:pt x="870" y="1956"/>
                  </a:lnTo>
                  <a:lnTo>
                    <a:pt x="854" y="1939"/>
                  </a:lnTo>
                  <a:lnTo>
                    <a:pt x="788" y="1973"/>
                  </a:lnTo>
                  <a:lnTo>
                    <a:pt x="731" y="1999"/>
                  </a:lnTo>
                  <a:lnTo>
                    <a:pt x="714" y="2035"/>
                  </a:lnTo>
                  <a:lnTo>
                    <a:pt x="669" y="2034"/>
                  </a:lnTo>
                  <a:lnTo>
                    <a:pt x="629" y="2059"/>
                  </a:lnTo>
                  <a:lnTo>
                    <a:pt x="605" y="2038"/>
                  </a:lnTo>
                  <a:lnTo>
                    <a:pt x="597" y="2014"/>
                  </a:lnTo>
                  <a:lnTo>
                    <a:pt x="573" y="2034"/>
                  </a:lnTo>
                  <a:lnTo>
                    <a:pt x="549" y="2021"/>
                  </a:lnTo>
                  <a:lnTo>
                    <a:pt x="538" y="2006"/>
                  </a:lnTo>
                  <a:lnTo>
                    <a:pt x="528" y="1981"/>
                  </a:lnTo>
                  <a:lnTo>
                    <a:pt x="506" y="1973"/>
                  </a:lnTo>
                  <a:lnTo>
                    <a:pt x="485" y="1954"/>
                  </a:lnTo>
                  <a:lnTo>
                    <a:pt x="480" y="1934"/>
                  </a:lnTo>
                  <a:lnTo>
                    <a:pt x="445" y="1930"/>
                  </a:lnTo>
                  <a:lnTo>
                    <a:pt x="416" y="1926"/>
                  </a:lnTo>
                  <a:lnTo>
                    <a:pt x="389" y="1936"/>
                  </a:lnTo>
                  <a:lnTo>
                    <a:pt x="370" y="1904"/>
                  </a:lnTo>
                  <a:lnTo>
                    <a:pt x="352" y="1890"/>
                  </a:lnTo>
                  <a:lnTo>
                    <a:pt x="328" y="1910"/>
                  </a:lnTo>
                  <a:lnTo>
                    <a:pt x="312" y="1907"/>
                  </a:lnTo>
                  <a:lnTo>
                    <a:pt x="285" y="1816"/>
                  </a:lnTo>
                  <a:lnTo>
                    <a:pt x="251" y="1725"/>
                  </a:lnTo>
                  <a:lnTo>
                    <a:pt x="242" y="1706"/>
                  </a:lnTo>
                  <a:lnTo>
                    <a:pt x="211" y="1672"/>
                  </a:lnTo>
                  <a:lnTo>
                    <a:pt x="203" y="1658"/>
                  </a:lnTo>
                  <a:lnTo>
                    <a:pt x="178" y="1651"/>
                  </a:lnTo>
                  <a:lnTo>
                    <a:pt x="125" y="1683"/>
                  </a:lnTo>
                  <a:lnTo>
                    <a:pt x="93" y="1674"/>
                  </a:lnTo>
                  <a:lnTo>
                    <a:pt x="95" y="1646"/>
                  </a:lnTo>
                  <a:lnTo>
                    <a:pt x="112" y="1643"/>
                  </a:lnTo>
                  <a:lnTo>
                    <a:pt x="47" y="1597"/>
                  </a:lnTo>
                  <a:lnTo>
                    <a:pt x="0" y="1602"/>
                  </a:lnTo>
                  <a:lnTo>
                    <a:pt x="27" y="1573"/>
                  </a:lnTo>
                  <a:lnTo>
                    <a:pt x="21" y="1526"/>
                  </a:lnTo>
                  <a:lnTo>
                    <a:pt x="16" y="1510"/>
                  </a:lnTo>
                  <a:lnTo>
                    <a:pt x="34" y="1488"/>
                  </a:lnTo>
                  <a:lnTo>
                    <a:pt x="48" y="1480"/>
                  </a:lnTo>
                  <a:lnTo>
                    <a:pt x="48" y="1459"/>
                  </a:lnTo>
                  <a:lnTo>
                    <a:pt x="80" y="1448"/>
                  </a:lnTo>
                  <a:lnTo>
                    <a:pt x="77" y="1416"/>
                  </a:lnTo>
                  <a:lnTo>
                    <a:pt x="53" y="1390"/>
                  </a:lnTo>
                  <a:lnTo>
                    <a:pt x="58" y="1344"/>
                  </a:lnTo>
                  <a:lnTo>
                    <a:pt x="85" y="1322"/>
                  </a:lnTo>
                  <a:lnTo>
                    <a:pt x="95" y="1336"/>
                  </a:lnTo>
                  <a:lnTo>
                    <a:pt x="103" y="1368"/>
                  </a:lnTo>
                  <a:lnTo>
                    <a:pt x="149" y="1379"/>
                  </a:lnTo>
                  <a:lnTo>
                    <a:pt x="162" y="1365"/>
                  </a:lnTo>
                  <a:lnTo>
                    <a:pt x="186" y="1381"/>
                  </a:lnTo>
                  <a:lnTo>
                    <a:pt x="253" y="1334"/>
                  </a:lnTo>
                  <a:lnTo>
                    <a:pt x="271" y="1294"/>
                  </a:lnTo>
                  <a:lnTo>
                    <a:pt x="311" y="1288"/>
                  </a:lnTo>
                  <a:lnTo>
                    <a:pt x="299" y="1262"/>
                  </a:lnTo>
                  <a:lnTo>
                    <a:pt x="330" y="1219"/>
                  </a:lnTo>
                  <a:lnTo>
                    <a:pt x="383" y="1221"/>
                  </a:lnTo>
                  <a:lnTo>
                    <a:pt x="407" y="1238"/>
                  </a:lnTo>
                  <a:lnTo>
                    <a:pt x="445" y="1240"/>
                  </a:lnTo>
                  <a:lnTo>
                    <a:pt x="488" y="1261"/>
                  </a:lnTo>
                  <a:lnTo>
                    <a:pt x="527" y="1234"/>
                  </a:lnTo>
                </a:path>
              </a:pathLst>
            </a:custGeom>
            <a:solidFill>
              <a:srgbClr val="99CC00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5094288" y="939800"/>
              <a:ext cx="3303587" cy="4459288"/>
            </a:xfrm>
            <a:custGeom>
              <a:avLst/>
              <a:gdLst>
                <a:gd name="T0" fmla="*/ 642 w 2184"/>
                <a:gd name="T1" fmla="*/ 2194 h 2948"/>
                <a:gd name="T2" fmla="*/ 563 w 2184"/>
                <a:gd name="T3" fmla="*/ 2130 h 2948"/>
                <a:gd name="T4" fmla="*/ 448 w 2184"/>
                <a:gd name="T5" fmla="*/ 2121 h 2948"/>
                <a:gd name="T6" fmla="*/ 378 w 2184"/>
                <a:gd name="T7" fmla="*/ 2212 h 2948"/>
                <a:gd name="T8" fmla="*/ 290 w 2184"/>
                <a:gd name="T9" fmla="*/ 2257 h 2948"/>
                <a:gd name="T10" fmla="*/ 237 w 2184"/>
                <a:gd name="T11" fmla="*/ 2076 h 2948"/>
                <a:gd name="T12" fmla="*/ 211 w 2184"/>
                <a:gd name="T13" fmla="*/ 1976 h 2948"/>
                <a:gd name="T14" fmla="*/ 79 w 2184"/>
                <a:gd name="T15" fmla="*/ 1895 h 2948"/>
                <a:gd name="T16" fmla="*/ 44 w 2184"/>
                <a:gd name="T17" fmla="*/ 1759 h 2948"/>
                <a:gd name="T18" fmla="*/ 44 w 2184"/>
                <a:gd name="T19" fmla="*/ 1650 h 2948"/>
                <a:gd name="T20" fmla="*/ 17 w 2184"/>
                <a:gd name="T21" fmla="*/ 1514 h 2948"/>
                <a:gd name="T22" fmla="*/ 123 w 2184"/>
                <a:gd name="T23" fmla="*/ 1360 h 2948"/>
                <a:gd name="T24" fmla="*/ 44 w 2184"/>
                <a:gd name="T25" fmla="*/ 1233 h 2948"/>
                <a:gd name="T26" fmla="*/ 79 w 2184"/>
                <a:gd name="T27" fmla="*/ 1160 h 2948"/>
                <a:gd name="T28" fmla="*/ 290 w 2184"/>
                <a:gd name="T29" fmla="*/ 1133 h 2948"/>
                <a:gd name="T30" fmla="*/ 334 w 2184"/>
                <a:gd name="T31" fmla="*/ 1042 h 2948"/>
                <a:gd name="T32" fmla="*/ 484 w 2184"/>
                <a:gd name="T33" fmla="*/ 1160 h 2948"/>
                <a:gd name="T34" fmla="*/ 598 w 2184"/>
                <a:gd name="T35" fmla="*/ 1051 h 2948"/>
                <a:gd name="T36" fmla="*/ 668 w 2184"/>
                <a:gd name="T37" fmla="*/ 879 h 2948"/>
                <a:gd name="T38" fmla="*/ 818 w 2184"/>
                <a:gd name="T39" fmla="*/ 779 h 2948"/>
                <a:gd name="T40" fmla="*/ 915 w 2184"/>
                <a:gd name="T41" fmla="*/ 797 h 2948"/>
                <a:gd name="T42" fmla="*/ 1091 w 2184"/>
                <a:gd name="T43" fmla="*/ 689 h 2948"/>
                <a:gd name="T44" fmla="*/ 1144 w 2184"/>
                <a:gd name="T45" fmla="*/ 652 h 2948"/>
                <a:gd name="T46" fmla="*/ 1267 w 2184"/>
                <a:gd name="T47" fmla="*/ 525 h 2948"/>
                <a:gd name="T48" fmla="*/ 1232 w 2184"/>
                <a:gd name="T49" fmla="*/ 408 h 2948"/>
                <a:gd name="T50" fmla="*/ 1496 w 2184"/>
                <a:gd name="T51" fmla="*/ 136 h 2948"/>
                <a:gd name="T52" fmla="*/ 1593 w 2184"/>
                <a:gd name="T53" fmla="*/ 54 h 2948"/>
                <a:gd name="T54" fmla="*/ 1707 w 2184"/>
                <a:gd name="T55" fmla="*/ 90 h 2948"/>
                <a:gd name="T56" fmla="*/ 1698 w 2184"/>
                <a:gd name="T57" fmla="*/ 190 h 2948"/>
                <a:gd name="T58" fmla="*/ 1575 w 2184"/>
                <a:gd name="T59" fmla="*/ 272 h 2948"/>
                <a:gd name="T60" fmla="*/ 1637 w 2184"/>
                <a:gd name="T61" fmla="*/ 398 h 2948"/>
                <a:gd name="T62" fmla="*/ 1742 w 2184"/>
                <a:gd name="T63" fmla="*/ 417 h 2948"/>
                <a:gd name="T64" fmla="*/ 1813 w 2184"/>
                <a:gd name="T65" fmla="*/ 444 h 2948"/>
                <a:gd name="T66" fmla="*/ 1866 w 2184"/>
                <a:gd name="T67" fmla="*/ 761 h 2948"/>
                <a:gd name="T68" fmla="*/ 1813 w 2184"/>
                <a:gd name="T69" fmla="*/ 906 h 2948"/>
                <a:gd name="T70" fmla="*/ 1848 w 2184"/>
                <a:gd name="T71" fmla="*/ 1060 h 2948"/>
                <a:gd name="T72" fmla="*/ 1989 w 2184"/>
                <a:gd name="T73" fmla="*/ 1115 h 2948"/>
                <a:gd name="T74" fmla="*/ 2086 w 2184"/>
                <a:gd name="T75" fmla="*/ 1233 h 2948"/>
                <a:gd name="T76" fmla="*/ 2112 w 2184"/>
                <a:gd name="T77" fmla="*/ 1387 h 2948"/>
                <a:gd name="T78" fmla="*/ 2156 w 2184"/>
                <a:gd name="T79" fmla="*/ 1577 h 2948"/>
                <a:gd name="T80" fmla="*/ 1813 w 2184"/>
                <a:gd name="T81" fmla="*/ 1332 h 2948"/>
                <a:gd name="T82" fmla="*/ 1637 w 2184"/>
                <a:gd name="T83" fmla="*/ 906 h 2948"/>
                <a:gd name="T84" fmla="*/ 1602 w 2184"/>
                <a:gd name="T85" fmla="*/ 924 h 2948"/>
                <a:gd name="T86" fmla="*/ 1646 w 2184"/>
                <a:gd name="T87" fmla="*/ 1060 h 2948"/>
                <a:gd name="T88" fmla="*/ 1540 w 2184"/>
                <a:gd name="T89" fmla="*/ 1097 h 2948"/>
                <a:gd name="T90" fmla="*/ 1637 w 2184"/>
                <a:gd name="T91" fmla="*/ 1305 h 2948"/>
                <a:gd name="T92" fmla="*/ 1566 w 2184"/>
                <a:gd name="T93" fmla="*/ 1423 h 2948"/>
                <a:gd name="T94" fmla="*/ 1487 w 2184"/>
                <a:gd name="T95" fmla="*/ 1468 h 2948"/>
                <a:gd name="T96" fmla="*/ 1434 w 2184"/>
                <a:gd name="T97" fmla="*/ 1550 h 2948"/>
                <a:gd name="T98" fmla="*/ 1355 w 2184"/>
                <a:gd name="T99" fmla="*/ 1768 h 2948"/>
                <a:gd name="T100" fmla="*/ 1373 w 2184"/>
                <a:gd name="T101" fmla="*/ 2067 h 2948"/>
                <a:gd name="T102" fmla="*/ 1434 w 2184"/>
                <a:gd name="T103" fmla="*/ 2067 h 2948"/>
                <a:gd name="T104" fmla="*/ 1461 w 2184"/>
                <a:gd name="T105" fmla="*/ 2013 h 2948"/>
                <a:gd name="T106" fmla="*/ 1663 w 2184"/>
                <a:gd name="T107" fmla="*/ 2103 h 2948"/>
                <a:gd name="T108" fmla="*/ 1813 w 2184"/>
                <a:gd name="T109" fmla="*/ 2493 h 2948"/>
                <a:gd name="T110" fmla="*/ 1654 w 2184"/>
                <a:gd name="T111" fmla="*/ 2947 h 2948"/>
                <a:gd name="T112" fmla="*/ 1619 w 2184"/>
                <a:gd name="T113" fmla="*/ 2593 h 2948"/>
                <a:gd name="T114" fmla="*/ 1602 w 2184"/>
                <a:gd name="T115" fmla="*/ 2502 h 2948"/>
                <a:gd name="T116" fmla="*/ 1047 w 2184"/>
                <a:gd name="T117" fmla="*/ 2402 h 2948"/>
                <a:gd name="T118" fmla="*/ 809 w 2184"/>
                <a:gd name="T119" fmla="*/ 2321 h 2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84" h="2948">
                  <a:moveTo>
                    <a:pt x="712" y="2266"/>
                  </a:moveTo>
                  <a:lnTo>
                    <a:pt x="712" y="2266"/>
                  </a:lnTo>
                  <a:lnTo>
                    <a:pt x="695" y="2257"/>
                  </a:lnTo>
                  <a:lnTo>
                    <a:pt x="668" y="2230"/>
                  </a:lnTo>
                  <a:lnTo>
                    <a:pt x="651" y="2221"/>
                  </a:lnTo>
                  <a:lnTo>
                    <a:pt x="642" y="2212"/>
                  </a:lnTo>
                  <a:lnTo>
                    <a:pt x="642" y="2194"/>
                  </a:lnTo>
                  <a:lnTo>
                    <a:pt x="624" y="2176"/>
                  </a:lnTo>
                  <a:lnTo>
                    <a:pt x="616" y="2149"/>
                  </a:lnTo>
                  <a:lnTo>
                    <a:pt x="607" y="2139"/>
                  </a:lnTo>
                  <a:lnTo>
                    <a:pt x="607" y="2121"/>
                  </a:lnTo>
                  <a:lnTo>
                    <a:pt x="589" y="2121"/>
                  </a:lnTo>
                  <a:lnTo>
                    <a:pt x="580" y="2112"/>
                  </a:lnTo>
                  <a:lnTo>
                    <a:pt x="563" y="2130"/>
                  </a:lnTo>
                  <a:lnTo>
                    <a:pt x="554" y="2139"/>
                  </a:lnTo>
                  <a:lnTo>
                    <a:pt x="536" y="2121"/>
                  </a:lnTo>
                  <a:lnTo>
                    <a:pt x="528" y="2103"/>
                  </a:lnTo>
                  <a:lnTo>
                    <a:pt x="501" y="2094"/>
                  </a:lnTo>
                  <a:lnTo>
                    <a:pt x="484" y="2076"/>
                  </a:lnTo>
                  <a:lnTo>
                    <a:pt x="466" y="2103"/>
                  </a:lnTo>
                  <a:lnTo>
                    <a:pt x="448" y="2121"/>
                  </a:lnTo>
                  <a:lnTo>
                    <a:pt x="440" y="2158"/>
                  </a:lnTo>
                  <a:lnTo>
                    <a:pt x="431" y="2185"/>
                  </a:lnTo>
                  <a:lnTo>
                    <a:pt x="413" y="2212"/>
                  </a:lnTo>
                  <a:lnTo>
                    <a:pt x="396" y="2230"/>
                  </a:lnTo>
                  <a:lnTo>
                    <a:pt x="387" y="2221"/>
                  </a:lnTo>
                  <a:lnTo>
                    <a:pt x="387" y="2203"/>
                  </a:lnTo>
                  <a:lnTo>
                    <a:pt x="378" y="2212"/>
                  </a:lnTo>
                  <a:lnTo>
                    <a:pt x="378" y="2221"/>
                  </a:lnTo>
                  <a:lnTo>
                    <a:pt x="352" y="2230"/>
                  </a:lnTo>
                  <a:lnTo>
                    <a:pt x="325" y="2239"/>
                  </a:lnTo>
                  <a:lnTo>
                    <a:pt x="316" y="2248"/>
                  </a:lnTo>
                  <a:lnTo>
                    <a:pt x="316" y="2257"/>
                  </a:lnTo>
                  <a:lnTo>
                    <a:pt x="299" y="2257"/>
                  </a:lnTo>
                  <a:lnTo>
                    <a:pt x="290" y="2257"/>
                  </a:lnTo>
                  <a:lnTo>
                    <a:pt x="281" y="2239"/>
                  </a:lnTo>
                  <a:lnTo>
                    <a:pt x="281" y="2212"/>
                  </a:lnTo>
                  <a:lnTo>
                    <a:pt x="281" y="2167"/>
                  </a:lnTo>
                  <a:lnTo>
                    <a:pt x="290" y="2112"/>
                  </a:lnTo>
                  <a:lnTo>
                    <a:pt x="264" y="2103"/>
                  </a:lnTo>
                  <a:lnTo>
                    <a:pt x="246" y="2085"/>
                  </a:lnTo>
                  <a:lnTo>
                    <a:pt x="237" y="2076"/>
                  </a:lnTo>
                  <a:lnTo>
                    <a:pt x="237" y="2058"/>
                  </a:lnTo>
                  <a:lnTo>
                    <a:pt x="237" y="2049"/>
                  </a:lnTo>
                  <a:lnTo>
                    <a:pt x="246" y="2031"/>
                  </a:lnTo>
                  <a:lnTo>
                    <a:pt x="228" y="2031"/>
                  </a:lnTo>
                  <a:lnTo>
                    <a:pt x="220" y="2022"/>
                  </a:lnTo>
                  <a:lnTo>
                    <a:pt x="211" y="2003"/>
                  </a:lnTo>
                  <a:lnTo>
                    <a:pt x="211" y="1976"/>
                  </a:lnTo>
                  <a:lnTo>
                    <a:pt x="193" y="1958"/>
                  </a:lnTo>
                  <a:lnTo>
                    <a:pt x="176" y="1940"/>
                  </a:lnTo>
                  <a:lnTo>
                    <a:pt x="167" y="1931"/>
                  </a:lnTo>
                  <a:lnTo>
                    <a:pt x="149" y="1913"/>
                  </a:lnTo>
                  <a:lnTo>
                    <a:pt x="149" y="1895"/>
                  </a:lnTo>
                  <a:lnTo>
                    <a:pt x="114" y="1895"/>
                  </a:lnTo>
                  <a:lnTo>
                    <a:pt x="79" y="1895"/>
                  </a:lnTo>
                  <a:lnTo>
                    <a:pt x="70" y="1877"/>
                  </a:lnTo>
                  <a:lnTo>
                    <a:pt x="70" y="1849"/>
                  </a:lnTo>
                  <a:lnTo>
                    <a:pt x="79" y="1831"/>
                  </a:lnTo>
                  <a:lnTo>
                    <a:pt x="88" y="1804"/>
                  </a:lnTo>
                  <a:lnTo>
                    <a:pt x="70" y="1795"/>
                  </a:lnTo>
                  <a:lnTo>
                    <a:pt x="52" y="1777"/>
                  </a:lnTo>
                  <a:lnTo>
                    <a:pt x="44" y="1759"/>
                  </a:lnTo>
                  <a:lnTo>
                    <a:pt x="44" y="1731"/>
                  </a:lnTo>
                  <a:lnTo>
                    <a:pt x="35" y="1731"/>
                  </a:lnTo>
                  <a:lnTo>
                    <a:pt x="26" y="1722"/>
                  </a:lnTo>
                  <a:lnTo>
                    <a:pt x="35" y="1704"/>
                  </a:lnTo>
                  <a:lnTo>
                    <a:pt x="52" y="1677"/>
                  </a:lnTo>
                  <a:lnTo>
                    <a:pt x="44" y="1668"/>
                  </a:lnTo>
                  <a:lnTo>
                    <a:pt x="44" y="1650"/>
                  </a:lnTo>
                  <a:lnTo>
                    <a:pt x="44" y="1632"/>
                  </a:lnTo>
                  <a:lnTo>
                    <a:pt x="44" y="1614"/>
                  </a:lnTo>
                  <a:lnTo>
                    <a:pt x="35" y="1595"/>
                  </a:lnTo>
                  <a:lnTo>
                    <a:pt x="26" y="1568"/>
                  </a:lnTo>
                  <a:lnTo>
                    <a:pt x="8" y="1550"/>
                  </a:lnTo>
                  <a:lnTo>
                    <a:pt x="0" y="1532"/>
                  </a:lnTo>
                  <a:lnTo>
                    <a:pt x="17" y="1514"/>
                  </a:lnTo>
                  <a:lnTo>
                    <a:pt x="35" y="1487"/>
                  </a:lnTo>
                  <a:lnTo>
                    <a:pt x="52" y="1487"/>
                  </a:lnTo>
                  <a:lnTo>
                    <a:pt x="70" y="1487"/>
                  </a:lnTo>
                  <a:lnTo>
                    <a:pt x="70" y="1459"/>
                  </a:lnTo>
                  <a:lnTo>
                    <a:pt x="70" y="1432"/>
                  </a:lnTo>
                  <a:lnTo>
                    <a:pt x="96" y="1396"/>
                  </a:lnTo>
                  <a:lnTo>
                    <a:pt x="123" y="1360"/>
                  </a:lnTo>
                  <a:lnTo>
                    <a:pt x="105" y="1342"/>
                  </a:lnTo>
                  <a:lnTo>
                    <a:pt x="96" y="1323"/>
                  </a:lnTo>
                  <a:lnTo>
                    <a:pt x="96" y="1314"/>
                  </a:lnTo>
                  <a:lnTo>
                    <a:pt x="96" y="1296"/>
                  </a:lnTo>
                  <a:lnTo>
                    <a:pt x="70" y="1278"/>
                  </a:lnTo>
                  <a:lnTo>
                    <a:pt x="52" y="1260"/>
                  </a:lnTo>
                  <a:lnTo>
                    <a:pt x="44" y="1233"/>
                  </a:lnTo>
                  <a:lnTo>
                    <a:pt x="35" y="1206"/>
                  </a:lnTo>
                  <a:lnTo>
                    <a:pt x="35" y="1187"/>
                  </a:lnTo>
                  <a:lnTo>
                    <a:pt x="44" y="1160"/>
                  </a:lnTo>
                  <a:lnTo>
                    <a:pt x="44" y="1169"/>
                  </a:lnTo>
                  <a:lnTo>
                    <a:pt x="52" y="1160"/>
                  </a:lnTo>
                  <a:lnTo>
                    <a:pt x="70" y="1142"/>
                  </a:lnTo>
                  <a:lnTo>
                    <a:pt x="79" y="1160"/>
                  </a:lnTo>
                  <a:lnTo>
                    <a:pt x="88" y="1169"/>
                  </a:lnTo>
                  <a:lnTo>
                    <a:pt x="132" y="1142"/>
                  </a:lnTo>
                  <a:lnTo>
                    <a:pt x="184" y="1115"/>
                  </a:lnTo>
                  <a:lnTo>
                    <a:pt x="184" y="1133"/>
                  </a:lnTo>
                  <a:lnTo>
                    <a:pt x="193" y="1151"/>
                  </a:lnTo>
                  <a:lnTo>
                    <a:pt x="237" y="1142"/>
                  </a:lnTo>
                  <a:lnTo>
                    <a:pt x="290" y="1133"/>
                  </a:lnTo>
                  <a:lnTo>
                    <a:pt x="281" y="1115"/>
                  </a:lnTo>
                  <a:lnTo>
                    <a:pt x="272" y="1088"/>
                  </a:lnTo>
                  <a:lnTo>
                    <a:pt x="272" y="1069"/>
                  </a:lnTo>
                  <a:lnTo>
                    <a:pt x="272" y="1042"/>
                  </a:lnTo>
                  <a:lnTo>
                    <a:pt x="299" y="1051"/>
                  </a:lnTo>
                  <a:lnTo>
                    <a:pt x="325" y="1051"/>
                  </a:lnTo>
                  <a:lnTo>
                    <a:pt x="334" y="1042"/>
                  </a:lnTo>
                  <a:lnTo>
                    <a:pt x="352" y="1033"/>
                  </a:lnTo>
                  <a:lnTo>
                    <a:pt x="378" y="1042"/>
                  </a:lnTo>
                  <a:lnTo>
                    <a:pt x="404" y="1042"/>
                  </a:lnTo>
                  <a:lnTo>
                    <a:pt x="387" y="1079"/>
                  </a:lnTo>
                  <a:lnTo>
                    <a:pt x="378" y="1106"/>
                  </a:lnTo>
                  <a:lnTo>
                    <a:pt x="404" y="1124"/>
                  </a:lnTo>
                  <a:lnTo>
                    <a:pt x="484" y="1160"/>
                  </a:lnTo>
                  <a:lnTo>
                    <a:pt x="536" y="1178"/>
                  </a:lnTo>
                  <a:lnTo>
                    <a:pt x="528" y="1142"/>
                  </a:lnTo>
                  <a:lnTo>
                    <a:pt x="528" y="1097"/>
                  </a:lnTo>
                  <a:lnTo>
                    <a:pt x="554" y="1097"/>
                  </a:lnTo>
                  <a:lnTo>
                    <a:pt x="580" y="1088"/>
                  </a:lnTo>
                  <a:lnTo>
                    <a:pt x="589" y="1069"/>
                  </a:lnTo>
                  <a:lnTo>
                    <a:pt x="598" y="1051"/>
                  </a:lnTo>
                  <a:lnTo>
                    <a:pt x="633" y="1024"/>
                  </a:lnTo>
                  <a:lnTo>
                    <a:pt x="677" y="997"/>
                  </a:lnTo>
                  <a:lnTo>
                    <a:pt x="642" y="979"/>
                  </a:lnTo>
                  <a:lnTo>
                    <a:pt x="616" y="952"/>
                  </a:lnTo>
                  <a:lnTo>
                    <a:pt x="624" y="933"/>
                  </a:lnTo>
                  <a:lnTo>
                    <a:pt x="633" y="906"/>
                  </a:lnTo>
                  <a:lnTo>
                    <a:pt x="668" y="879"/>
                  </a:lnTo>
                  <a:lnTo>
                    <a:pt x="712" y="843"/>
                  </a:lnTo>
                  <a:lnTo>
                    <a:pt x="721" y="852"/>
                  </a:lnTo>
                  <a:lnTo>
                    <a:pt x="739" y="861"/>
                  </a:lnTo>
                  <a:lnTo>
                    <a:pt x="748" y="843"/>
                  </a:lnTo>
                  <a:lnTo>
                    <a:pt x="757" y="816"/>
                  </a:lnTo>
                  <a:lnTo>
                    <a:pt x="783" y="797"/>
                  </a:lnTo>
                  <a:lnTo>
                    <a:pt x="818" y="779"/>
                  </a:lnTo>
                  <a:lnTo>
                    <a:pt x="818" y="797"/>
                  </a:lnTo>
                  <a:lnTo>
                    <a:pt x="827" y="816"/>
                  </a:lnTo>
                  <a:lnTo>
                    <a:pt x="845" y="816"/>
                  </a:lnTo>
                  <a:lnTo>
                    <a:pt x="862" y="816"/>
                  </a:lnTo>
                  <a:lnTo>
                    <a:pt x="871" y="807"/>
                  </a:lnTo>
                  <a:lnTo>
                    <a:pt x="880" y="797"/>
                  </a:lnTo>
                  <a:lnTo>
                    <a:pt x="915" y="797"/>
                  </a:lnTo>
                  <a:lnTo>
                    <a:pt x="959" y="797"/>
                  </a:lnTo>
                  <a:lnTo>
                    <a:pt x="959" y="770"/>
                  </a:lnTo>
                  <a:lnTo>
                    <a:pt x="959" y="734"/>
                  </a:lnTo>
                  <a:lnTo>
                    <a:pt x="994" y="698"/>
                  </a:lnTo>
                  <a:lnTo>
                    <a:pt x="1038" y="661"/>
                  </a:lnTo>
                  <a:lnTo>
                    <a:pt x="1065" y="680"/>
                  </a:lnTo>
                  <a:lnTo>
                    <a:pt x="1091" y="689"/>
                  </a:lnTo>
                  <a:lnTo>
                    <a:pt x="1109" y="689"/>
                  </a:lnTo>
                  <a:lnTo>
                    <a:pt x="1126" y="680"/>
                  </a:lnTo>
                  <a:lnTo>
                    <a:pt x="1144" y="689"/>
                  </a:lnTo>
                  <a:lnTo>
                    <a:pt x="1170" y="689"/>
                  </a:lnTo>
                  <a:lnTo>
                    <a:pt x="1161" y="671"/>
                  </a:lnTo>
                  <a:lnTo>
                    <a:pt x="1153" y="661"/>
                  </a:lnTo>
                  <a:lnTo>
                    <a:pt x="1144" y="652"/>
                  </a:lnTo>
                  <a:lnTo>
                    <a:pt x="1144" y="634"/>
                  </a:lnTo>
                  <a:lnTo>
                    <a:pt x="1170" y="607"/>
                  </a:lnTo>
                  <a:lnTo>
                    <a:pt x="1197" y="571"/>
                  </a:lnTo>
                  <a:lnTo>
                    <a:pt x="1197" y="553"/>
                  </a:lnTo>
                  <a:lnTo>
                    <a:pt x="1205" y="534"/>
                  </a:lnTo>
                  <a:lnTo>
                    <a:pt x="1232" y="534"/>
                  </a:lnTo>
                  <a:lnTo>
                    <a:pt x="1267" y="525"/>
                  </a:lnTo>
                  <a:lnTo>
                    <a:pt x="1276" y="507"/>
                  </a:lnTo>
                  <a:lnTo>
                    <a:pt x="1293" y="480"/>
                  </a:lnTo>
                  <a:lnTo>
                    <a:pt x="1267" y="480"/>
                  </a:lnTo>
                  <a:lnTo>
                    <a:pt x="1241" y="471"/>
                  </a:lnTo>
                  <a:lnTo>
                    <a:pt x="1223" y="453"/>
                  </a:lnTo>
                  <a:lnTo>
                    <a:pt x="1205" y="435"/>
                  </a:lnTo>
                  <a:lnTo>
                    <a:pt x="1232" y="408"/>
                  </a:lnTo>
                  <a:lnTo>
                    <a:pt x="1267" y="371"/>
                  </a:lnTo>
                  <a:lnTo>
                    <a:pt x="1267" y="344"/>
                  </a:lnTo>
                  <a:lnTo>
                    <a:pt x="1267" y="317"/>
                  </a:lnTo>
                  <a:lnTo>
                    <a:pt x="1337" y="272"/>
                  </a:lnTo>
                  <a:lnTo>
                    <a:pt x="1408" y="217"/>
                  </a:lnTo>
                  <a:lnTo>
                    <a:pt x="1452" y="181"/>
                  </a:lnTo>
                  <a:lnTo>
                    <a:pt x="1496" y="136"/>
                  </a:lnTo>
                  <a:lnTo>
                    <a:pt x="1540" y="136"/>
                  </a:lnTo>
                  <a:lnTo>
                    <a:pt x="1584" y="136"/>
                  </a:lnTo>
                  <a:lnTo>
                    <a:pt x="1584" y="117"/>
                  </a:lnTo>
                  <a:lnTo>
                    <a:pt x="1593" y="99"/>
                  </a:lnTo>
                  <a:lnTo>
                    <a:pt x="1575" y="99"/>
                  </a:lnTo>
                  <a:lnTo>
                    <a:pt x="1558" y="99"/>
                  </a:lnTo>
                  <a:lnTo>
                    <a:pt x="1593" y="54"/>
                  </a:lnTo>
                  <a:lnTo>
                    <a:pt x="1637" y="0"/>
                  </a:lnTo>
                  <a:lnTo>
                    <a:pt x="1654" y="36"/>
                  </a:lnTo>
                  <a:lnTo>
                    <a:pt x="1681" y="63"/>
                  </a:lnTo>
                  <a:lnTo>
                    <a:pt x="1672" y="81"/>
                  </a:lnTo>
                  <a:lnTo>
                    <a:pt x="1663" y="90"/>
                  </a:lnTo>
                  <a:lnTo>
                    <a:pt x="1681" y="90"/>
                  </a:lnTo>
                  <a:lnTo>
                    <a:pt x="1707" y="90"/>
                  </a:lnTo>
                  <a:lnTo>
                    <a:pt x="1707" y="99"/>
                  </a:lnTo>
                  <a:lnTo>
                    <a:pt x="1707" y="108"/>
                  </a:lnTo>
                  <a:lnTo>
                    <a:pt x="1734" y="108"/>
                  </a:lnTo>
                  <a:lnTo>
                    <a:pt x="1769" y="108"/>
                  </a:lnTo>
                  <a:lnTo>
                    <a:pt x="1734" y="145"/>
                  </a:lnTo>
                  <a:lnTo>
                    <a:pt x="1707" y="172"/>
                  </a:lnTo>
                  <a:lnTo>
                    <a:pt x="1698" y="190"/>
                  </a:lnTo>
                  <a:lnTo>
                    <a:pt x="1698" y="199"/>
                  </a:lnTo>
                  <a:lnTo>
                    <a:pt x="1672" y="199"/>
                  </a:lnTo>
                  <a:lnTo>
                    <a:pt x="1654" y="199"/>
                  </a:lnTo>
                  <a:lnTo>
                    <a:pt x="1637" y="235"/>
                  </a:lnTo>
                  <a:lnTo>
                    <a:pt x="1628" y="272"/>
                  </a:lnTo>
                  <a:lnTo>
                    <a:pt x="1602" y="272"/>
                  </a:lnTo>
                  <a:lnTo>
                    <a:pt x="1575" y="272"/>
                  </a:lnTo>
                  <a:lnTo>
                    <a:pt x="1575" y="290"/>
                  </a:lnTo>
                  <a:lnTo>
                    <a:pt x="1575" y="299"/>
                  </a:lnTo>
                  <a:lnTo>
                    <a:pt x="1602" y="308"/>
                  </a:lnTo>
                  <a:lnTo>
                    <a:pt x="1628" y="317"/>
                  </a:lnTo>
                  <a:lnTo>
                    <a:pt x="1637" y="335"/>
                  </a:lnTo>
                  <a:lnTo>
                    <a:pt x="1654" y="353"/>
                  </a:lnTo>
                  <a:lnTo>
                    <a:pt x="1637" y="398"/>
                  </a:lnTo>
                  <a:lnTo>
                    <a:pt x="1619" y="435"/>
                  </a:lnTo>
                  <a:lnTo>
                    <a:pt x="1628" y="453"/>
                  </a:lnTo>
                  <a:lnTo>
                    <a:pt x="1637" y="462"/>
                  </a:lnTo>
                  <a:lnTo>
                    <a:pt x="1663" y="435"/>
                  </a:lnTo>
                  <a:lnTo>
                    <a:pt x="1690" y="398"/>
                  </a:lnTo>
                  <a:lnTo>
                    <a:pt x="1716" y="408"/>
                  </a:lnTo>
                  <a:lnTo>
                    <a:pt x="1742" y="417"/>
                  </a:lnTo>
                  <a:lnTo>
                    <a:pt x="1760" y="408"/>
                  </a:lnTo>
                  <a:lnTo>
                    <a:pt x="1786" y="389"/>
                  </a:lnTo>
                  <a:lnTo>
                    <a:pt x="1804" y="389"/>
                  </a:lnTo>
                  <a:lnTo>
                    <a:pt x="1822" y="389"/>
                  </a:lnTo>
                  <a:lnTo>
                    <a:pt x="1822" y="408"/>
                  </a:lnTo>
                  <a:lnTo>
                    <a:pt x="1830" y="426"/>
                  </a:lnTo>
                  <a:lnTo>
                    <a:pt x="1813" y="444"/>
                  </a:lnTo>
                  <a:lnTo>
                    <a:pt x="1804" y="462"/>
                  </a:lnTo>
                  <a:lnTo>
                    <a:pt x="1804" y="516"/>
                  </a:lnTo>
                  <a:lnTo>
                    <a:pt x="1813" y="571"/>
                  </a:lnTo>
                  <a:lnTo>
                    <a:pt x="1804" y="571"/>
                  </a:lnTo>
                  <a:lnTo>
                    <a:pt x="1830" y="652"/>
                  </a:lnTo>
                  <a:lnTo>
                    <a:pt x="1857" y="743"/>
                  </a:lnTo>
                  <a:lnTo>
                    <a:pt x="1866" y="761"/>
                  </a:lnTo>
                  <a:lnTo>
                    <a:pt x="1883" y="779"/>
                  </a:lnTo>
                  <a:lnTo>
                    <a:pt x="1848" y="788"/>
                  </a:lnTo>
                  <a:lnTo>
                    <a:pt x="1813" y="797"/>
                  </a:lnTo>
                  <a:lnTo>
                    <a:pt x="1804" y="834"/>
                  </a:lnTo>
                  <a:lnTo>
                    <a:pt x="1795" y="870"/>
                  </a:lnTo>
                  <a:lnTo>
                    <a:pt x="1804" y="888"/>
                  </a:lnTo>
                  <a:lnTo>
                    <a:pt x="1813" y="906"/>
                  </a:lnTo>
                  <a:lnTo>
                    <a:pt x="1795" y="906"/>
                  </a:lnTo>
                  <a:lnTo>
                    <a:pt x="1786" y="915"/>
                  </a:lnTo>
                  <a:lnTo>
                    <a:pt x="1795" y="933"/>
                  </a:lnTo>
                  <a:lnTo>
                    <a:pt x="1813" y="961"/>
                  </a:lnTo>
                  <a:lnTo>
                    <a:pt x="1795" y="979"/>
                  </a:lnTo>
                  <a:lnTo>
                    <a:pt x="1778" y="997"/>
                  </a:lnTo>
                  <a:lnTo>
                    <a:pt x="1848" y="1060"/>
                  </a:lnTo>
                  <a:lnTo>
                    <a:pt x="1892" y="1097"/>
                  </a:lnTo>
                  <a:lnTo>
                    <a:pt x="1910" y="1079"/>
                  </a:lnTo>
                  <a:lnTo>
                    <a:pt x="1927" y="1097"/>
                  </a:lnTo>
                  <a:lnTo>
                    <a:pt x="1945" y="1106"/>
                  </a:lnTo>
                  <a:lnTo>
                    <a:pt x="1962" y="1106"/>
                  </a:lnTo>
                  <a:lnTo>
                    <a:pt x="1980" y="1097"/>
                  </a:lnTo>
                  <a:lnTo>
                    <a:pt x="1989" y="1115"/>
                  </a:lnTo>
                  <a:lnTo>
                    <a:pt x="2006" y="1124"/>
                  </a:lnTo>
                  <a:lnTo>
                    <a:pt x="1989" y="1133"/>
                  </a:lnTo>
                  <a:lnTo>
                    <a:pt x="1980" y="1133"/>
                  </a:lnTo>
                  <a:lnTo>
                    <a:pt x="1989" y="1160"/>
                  </a:lnTo>
                  <a:lnTo>
                    <a:pt x="2006" y="1187"/>
                  </a:lnTo>
                  <a:lnTo>
                    <a:pt x="2042" y="1215"/>
                  </a:lnTo>
                  <a:lnTo>
                    <a:pt x="2086" y="1233"/>
                  </a:lnTo>
                  <a:lnTo>
                    <a:pt x="2068" y="1251"/>
                  </a:lnTo>
                  <a:lnTo>
                    <a:pt x="2050" y="1269"/>
                  </a:lnTo>
                  <a:lnTo>
                    <a:pt x="2059" y="1305"/>
                  </a:lnTo>
                  <a:lnTo>
                    <a:pt x="2077" y="1332"/>
                  </a:lnTo>
                  <a:lnTo>
                    <a:pt x="2094" y="1351"/>
                  </a:lnTo>
                  <a:lnTo>
                    <a:pt x="2121" y="1360"/>
                  </a:lnTo>
                  <a:lnTo>
                    <a:pt x="2112" y="1387"/>
                  </a:lnTo>
                  <a:lnTo>
                    <a:pt x="2112" y="1405"/>
                  </a:lnTo>
                  <a:lnTo>
                    <a:pt x="2130" y="1441"/>
                  </a:lnTo>
                  <a:lnTo>
                    <a:pt x="2156" y="1478"/>
                  </a:lnTo>
                  <a:lnTo>
                    <a:pt x="2165" y="1532"/>
                  </a:lnTo>
                  <a:lnTo>
                    <a:pt x="2183" y="1577"/>
                  </a:lnTo>
                  <a:lnTo>
                    <a:pt x="2165" y="1577"/>
                  </a:lnTo>
                  <a:lnTo>
                    <a:pt x="2156" y="1577"/>
                  </a:lnTo>
                  <a:lnTo>
                    <a:pt x="2121" y="1559"/>
                  </a:lnTo>
                  <a:lnTo>
                    <a:pt x="2094" y="1532"/>
                  </a:lnTo>
                  <a:lnTo>
                    <a:pt x="1989" y="1487"/>
                  </a:lnTo>
                  <a:lnTo>
                    <a:pt x="1892" y="1441"/>
                  </a:lnTo>
                  <a:lnTo>
                    <a:pt x="1874" y="1423"/>
                  </a:lnTo>
                  <a:lnTo>
                    <a:pt x="1839" y="1369"/>
                  </a:lnTo>
                  <a:lnTo>
                    <a:pt x="1813" y="1332"/>
                  </a:lnTo>
                  <a:lnTo>
                    <a:pt x="1813" y="1351"/>
                  </a:lnTo>
                  <a:lnTo>
                    <a:pt x="1769" y="1215"/>
                  </a:lnTo>
                  <a:lnTo>
                    <a:pt x="1725" y="1079"/>
                  </a:lnTo>
                  <a:lnTo>
                    <a:pt x="1716" y="1024"/>
                  </a:lnTo>
                  <a:lnTo>
                    <a:pt x="1716" y="970"/>
                  </a:lnTo>
                  <a:lnTo>
                    <a:pt x="1672" y="933"/>
                  </a:lnTo>
                  <a:lnTo>
                    <a:pt x="1637" y="906"/>
                  </a:lnTo>
                  <a:lnTo>
                    <a:pt x="1628" y="879"/>
                  </a:lnTo>
                  <a:lnTo>
                    <a:pt x="1628" y="861"/>
                  </a:lnTo>
                  <a:lnTo>
                    <a:pt x="1610" y="870"/>
                  </a:lnTo>
                  <a:lnTo>
                    <a:pt x="1593" y="879"/>
                  </a:lnTo>
                  <a:lnTo>
                    <a:pt x="1593" y="897"/>
                  </a:lnTo>
                  <a:lnTo>
                    <a:pt x="1593" y="924"/>
                  </a:lnTo>
                  <a:lnTo>
                    <a:pt x="1602" y="924"/>
                  </a:lnTo>
                  <a:lnTo>
                    <a:pt x="1593" y="924"/>
                  </a:lnTo>
                  <a:lnTo>
                    <a:pt x="1602" y="915"/>
                  </a:lnTo>
                  <a:lnTo>
                    <a:pt x="1619" y="933"/>
                  </a:lnTo>
                  <a:lnTo>
                    <a:pt x="1646" y="952"/>
                  </a:lnTo>
                  <a:lnTo>
                    <a:pt x="1654" y="1006"/>
                  </a:lnTo>
                  <a:lnTo>
                    <a:pt x="1663" y="1060"/>
                  </a:lnTo>
                  <a:lnTo>
                    <a:pt x="1646" y="1060"/>
                  </a:lnTo>
                  <a:lnTo>
                    <a:pt x="1628" y="1060"/>
                  </a:lnTo>
                  <a:lnTo>
                    <a:pt x="1610" y="1033"/>
                  </a:lnTo>
                  <a:lnTo>
                    <a:pt x="1593" y="1006"/>
                  </a:lnTo>
                  <a:lnTo>
                    <a:pt x="1593" y="1024"/>
                  </a:lnTo>
                  <a:lnTo>
                    <a:pt x="1593" y="1042"/>
                  </a:lnTo>
                  <a:lnTo>
                    <a:pt x="1566" y="1069"/>
                  </a:lnTo>
                  <a:lnTo>
                    <a:pt x="1540" y="1097"/>
                  </a:lnTo>
                  <a:lnTo>
                    <a:pt x="1549" y="1142"/>
                  </a:lnTo>
                  <a:lnTo>
                    <a:pt x="1558" y="1178"/>
                  </a:lnTo>
                  <a:lnTo>
                    <a:pt x="1575" y="1233"/>
                  </a:lnTo>
                  <a:lnTo>
                    <a:pt x="1593" y="1278"/>
                  </a:lnTo>
                  <a:lnTo>
                    <a:pt x="1619" y="1287"/>
                  </a:lnTo>
                  <a:lnTo>
                    <a:pt x="1646" y="1287"/>
                  </a:lnTo>
                  <a:lnTo>
                    <a:pt x="1637" y="1305"/>
                  </a:lnTo>
                  <a:lnTo>
                    <a:pt x="1628" y="1323"/>
                  </a:lnTo>
                  <a:lnTo>
                    <a:pt x="1610" y="1332"/>
                  </a:lnTo>
                  <a:lnTo>
                    <a:pt x="1602" y="1332"/>
                  </a:lnTo>
                  <a:lnTo>
                    <a:pt x="1602" y="1360"/>
                  </a:lnTo>
                  <a:lnTo>
                    <a:pt x="1610" y="1378"/>
                  </a:lnTo>
                  <a:lnTo>
                    <a:pt x="1584" y="1405"/>
                  </a:lnTo>
                  <a:lnTo>
                    <a:pt x="1566" y="1423"/>
                  </a:lnTo>
                  <a:lnTo>
                    <a:pt x="1566" y="1396"/>
                  </a:lnTo>
                  <a:lnTo>
                    <a:pt x="1566" y="1369"/>
                  </a:lnTo>
                  <a:lnTo>
                    <a:pt x="1540" y="1387"/>
                  </a:lnTo>
                  <a:lnTo>
                    <a:pt x="1522" y="1396"/>
                  </a:lnTo>
                  <a:lnTo>
                    <a:pt x="1496" y="1423"/>
                  </a:lnTo>
                  <a:lnTo>
                    <a:pt x="1478" y="1450"/>
                  </a:lnTo>
                  <a:lnTo>
                    <a:pt x="1487" y="1468"/>
                  </a:lnTo>
                  <a:lnTo>
                    <a:pt x="1505" y="1478"/>
                  </a:lnTo>
                  <a:lnTo>
                    <a:pt x="1487" y="1487"/>
                  </a:lnTo>
                  <a:lnTo>
                    <a:pt x="1470" y="1487"/>
                  </a:lnTo>
                  <a:lnTo>
                    <a:pt x="1452" y="1505"/>
                  </a:lnTo>
                  <a:lnTo>
                    <a:pt x="1443" y="1523"/>
                  </a:lnTo>
                  <a:lnTo>
                    <a:pt x="1434" y="1541"/>
                  </a:lnTo>
                  <a:lnTo>
                    <a:pt x="1434" y="1550"/>
                  </a:lnTo>
                  <a:lnTo>
                    <a:pt x="1425" y="1550"/>
                  </a:lnTo>
                  <a:lnTo>
                    <a:pt x="1417" y="1550"/>
                  </a:lnTo>
                  <a:lnTo>
                    <a:pt x="1381" y="1595"/>
                  </a:lnTo>
                  <a:lnTo>
                    <a:pt x="1346" y="1641"/>
                  </a:lnTo>
                  <a:lnTo>
                    <a:pt x="1346" y="1695"/>
                  </a:lnTo>
                  <a:lnTo>
                    <a:pt x="1346" y="1750"/>
                  </a:lnTo>
                  <a:lnTo>
                    <a:pt x="1355" y="1768"/>
                  </a:lnTo>
                  <a:lnTo>
                    <a:pt x="1364" y="1786"/>
                  </a:lnTo>
                  <a:lnTo>
                    <a:pt x="1355" y="1877"/>
                  </a:lnTo>
                  <a:lnTo>
                    <a:pt x="1346" y="1958"/>
                  </a:lnTo>
                  <a:lnTo>
                    <a:pt x="1329" y="2013"/>
                  </a:lnTo>
                  <a:lnTo>
                    <a:pt x="1311" y="2067"/>
                  </a:lnTo>
                  <a:lnTo>
                    <a:pt x="1337" y="2067"/>
                  </a:lnTo>
                  <a:lnTo>
                    <a:pt x="1373" y="2067"/>
                  </a:lnTo>
                  <a:lnTo>
                    <a:pt x="1381" y="2058"/>
                  </a:lnTo>
                  <a:lnTo>
                    <a:pt x="1399" y="2049"/>
                  </a:lnTo>
                  <a:lnTo>
                    <a:pt x="1399" y="2076"/>
                  </a:lnTo>
                  <a:lnTo>
                    <a:pt x="1408" y="2094"/>
                  </a:lnTo>
                  <a:lnTo>
                    <a:pt x="1425" y="2094"/>
                  </a:lnTo>
                  <a:lnTo>
                    <a:pt x="1443" y="2085"/>
                  </a:lnTo>
                  <a:lnTo>
                    <a:pt x="1434" y="2067"/>
                  </a:lnTo>
                  <a:lnTo>
                    <a:pt x="1425" y="2049"/>
                  </a:lnTo>
                  <a:lnTo>
                    <a:pt x="1452" y="2067"/>
                  </a:lnTo>
                  <a:lnTo>
                    <a:pt x="1478" y="2076"/>
                  </a:lnTo>
                  <a:lnTo>
                    <a:pt x="1478" y="2058"/>
                  </a:lnTo>
                  <a:lnTo>
                    <a:pt x="1478" y="2031"/>
                  </a:lnTo>
                  <a:lnTo>
                    <a:pt x="1470" y="2022"/>
                  </a:lnTo>
                  <a:lnTo>
                    <a:pt x="1461" y="2013"/>
                  </a:lnTo>
                  <a:lnTo>
                    <a:pt x="1487" y="1994"/>
                  </a:lnTo>
                  <a:lnTo>
                    <a:pt x="1514" y="1976"/>
                  </a:lnTo>
                  <a:lnTo>
                    <a:pt x="1558" y="1994"/>
                  </a:lnTo>
                  <a:lnTo>
                    <a:pt x="1602" y="2003"/>
                  </a:lnTo>
                  <a:lnTo>
                    <a:pt x="1637" y="2049"/>
                  </a:lnTo>
                  <a:lnTo>
                    <a:pt x="1672" y="2085"/>
                  </a:lnTo>
                  <a:lnTo>
                    <a:pt x="1663" y="2103"/>
                  </a:lnTo>
                  <a:lnTo>
                    <a:pt x="1663" y="2121"/>
                  </a:lnTo>
                  <a:lnTo>
                    <a:pt x="1716" y="2194"/>
                  </a:lnTo>
                  <a:lnTo>
                    <a:pt x="1786" y="2294"/>
                  </a:lnTo>
                  <a:lnTo>
                    <a:pt x="1804" y="2321"/>
                  </a:lnTo>
                  <a:lnTo>
                    <a:pt x="1795" y="2366"/>
                  </a:lnTo>
                  <a:lnTo>
                    <a:pt x="1795" y="2412"/>
                  </a:lnTo>
                  <a:lnTo>
                    <a:pt x="1813" y="2493"/>
                  </a:lnTo>
                  <a:lnTo>
                    <a:pt x="1822" y="2557"/>
                  </a:lnTo>
                  <a:lnTo>
                    <a:pt x="1813" y="2629"/>
                  </a:lnTo>
                  <a:lnTo>
                    <a:pt x="1813" y="2820"/>
                  </a:lnTo>
                  <a:lnTo>
                    <a:pt x="1734" y="2892"/>
                  </a:lnTo>
                  <a:lnTo>
                    <a:pt x="1681" y="2874"/>
                  </a:lnTo>
                  <a:lnTo>
                    <a:pt x="1690" y="2928"/>
                  </a:lnTo>
                  <a:lnTo>
                    <a:pt x="1654" y="2947"/>
                  </a:lnTo>
                  <a:lnTo>
                    <a:pt x="1654" y="2937"/>
                  </a:lnTo>
                  <a:lnTo>
                    <a:pt x="1654" y="2883"/>
                  </a:lnTo>
                  <a:lnTo>
                    <a:pt x="1593" y="2801"/>
                  </a:lnTo>
                  <a:lnTo>
                    <a:pt x="1602" y="2756"/>
                  </a:lnTo>
                  <a:lnTo>
                    <a:pt x="1646" y="2738"/>
                  </a:lnTo>
                  <a:lnTo>
                    <a:pt x="1646" y="2647"/>
                  </a:lnTo>
                  <a:lnTo>
                    <a:pt x="1619" y="2593"/>
                  </a:lnTo>
                  <a:lnTo>
                    <a:pt x="1610" y="2575"/>
                  </a:lnTo>
                  <a:lnTo>
                    <a:pt x="1602" y="2548"/>
                  </a:lnTo>
                  <a:lnTo>
                    <a:pt x="1610" y="2538"/>
                  </a:lnTo>
                  <a:lnTo>
                    <a:pt x="1619" y="2529"/>
                  </a:lnTo>
                  <a:lnTo>
                    <a:pt x="1610" y="2520"/>
                  </a:lnTo>
                  <a:lnTo>
                    <a:pt x="1602" y="2511"/>
                  </a:lnTo>
                  <a:lnTo>
                    <a:pt x="1602" y="2502"/>
                  </a:lnTo>
                  <a:lnTo>
                    <a:pt x="1602" y="2493"/>
                  </a:lnTo>
                  <a:lnTo>
                    <a:pt x="1531" y="2529"/>
                  </a:lnTo>
                  <a:lnTo>
                    <a:pt x="1531" y="2566"/>
                  </a:lnTo>
                  <a:lnTo>
                    <a:pt x="1470" y="2611"/>
                  </a:lnTo>
                  <a:lnTo>
                    <a:pt x="1399" y="2557"/>
                  </a:lnTo>
                  <a:lnTo>
                    <a:pt x="1249" y="2575"/>
                  </a:lnTo>
                  <a:lnTo>
                    <a:pt x="1047" y="2402"/>
                  </a:lnTo>
                  <a:lnTo>
                    <a:pt x="985" y="2412"/>
                  </a:lnTo>
                  <a:lnTo>
                    <a:pt x="897" y="2457"/>
                  </a:lnTo>
                  <a:lnTo>
                    <a:pt x="871" y="2421"/>
                  </a:lnTo>
                  <a:lnTo>
                    <a:pt x="862" y="2384"/>
                  </a:lnTo>
                  <a:lnTo>
                    <a:pt x="845" y="2348"/>
                  </a:lnTo>
                  <a:lnTo>
                    <a:pt x="845" y="2321"/>
                  </a:lnTo>
                  <a:lnTo>
                    <a:pt x="809" y="2321"/>
                  </a:lnTo>
                  <a:lnTo>
                    <a:pt x="801" y="2294"/>
                  </a:lnTo>
                  <a:lnTo>
                    <a:pt x="757" y="2330"/>
                  </a:lnTo>
                  <a:lnTo>
                    <a:pt x="757" y="2285"/>
                  </a:lnTo>
                  <a:lnTo>
                    <a:pt x="712" y="2285"/>
                  </a:lnTo>
                  <a:lnTo>
                    <a:pt x="712" y="2257"/>
                  </a:lnTo>
                  <a:lnTo>
                    <a:pt x="712" y="2266"/>
                  </a:lnTo>
                </a:path>
              </a:pathLst>
            </a:custGeom>
            <a:solidFill>
              <a:srgbClr val="99CC00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1446213" y="3573463"/>
              <a:ext cx="1427162" cy="1439863"/>
            </a:xfrm>
            <a:custGeom>
              <a:avLst/>
              <a:gdLst>
                <a:gd name="T0" fmla="*/ 140 w 881"/>
                <a:gd name="T1" fmla="*/ 202 h 889"/>
                <a:gd name="T2" fmla="*/ 222 w 881"/>
                <a:gd name="T3" fmla="*/ 169 h 889"/>
                <a:gd name="T4" fmla="*/ 246 w 881"/>
                <a:gd name="T5" fmla="*/ 152 h 889"/>
                <a:gd name="T6" fmla="*/ 279 w 881"/>
                <a:gd name="T7" fmla="*/ 127 h 889"/>
                <a:gd name="T8" fmla="*/ 328 w 881"/>
                <a:gd name="T9" fmla="*/ 135 h 889"/>
                <a:gd name="T10" fmla="*/ 378 w 881"/>
                <a:gd name="T11" fmla="*/ 144 h 889"/>
                <a:gd name="T12" fmla="*/ 410 w 881"/>
                <a:gd name="T13" fmla="*/ 135 h 889"/>
                <a:gd name="T14" fmla="*/ 460 w 881"/>
                <a:gd name="T15" fmla="*/ 127 h 889"/>
                <a:gd name="T16" fmla="*/ 477 w 881"/>
                <a:gd name="T17" fmla="*/ 59 h 889"/>
                <a:gd name="T18" fmla="*/ 509 w 881"/>
                <a:gd name="T19" fmla="*/ 17 h 889"/>
                <a:gd name="T20" fmla="*/ 525 w 881"/>
                <a:gd name="T21" fmla="*/ 0 h 889"/>
                <a:gd name="T22" fmla="*/ 550 w 881"/>
                <a:gd name="T23" fmla="*/ 42 h 889"/>
                <a:gd name="T24" fmla="*/ 518 w 881"/>
                <a:gd name="T25" fmla="*/ 127 h 889"/>
                <a:gd name="T26" fmla="*/ 542 w 881"/>
                <a:gd name="T27" fmla="*/ 152 h 889"/>
                <a:gd name="T28" fmla="*/ 575 w 881"/>
                <a:gd name="T29" fmla="*/ 135 h 889"/>
                <a:gd name="T30" fmla="*/ 616 w 881"/>
                <a:gd name="T31" fmla="*/ 144 h 889"/>
                <a:gd name="T32" fmla="*/ 639 w 881"/>
                <a:gd name="T33" fmla="*/ 118 h 889"/>
                <a:gd name="T34" fmla="*/ 691 w 881"/>
                <a:gd name="T35" fmla="*/ 115 h 889"/>
                <a:gd name="T36" fmla="*/ 781 w 881"/>
                <a:gd name="T37" fmla="*/ 143 h 889"/>
                <a:gd name="T38" fmla="*/ 869 w 881"/>
                <a:gd name="T39" fmla="*/ 170 h 889"/>
                <a:gd name="T40" fmla="*/ 806 w 881"/>
                <a:gd name="T41" fmla="*/ 287 h 889"/>
                <a:gd name="T42" fmla="*/ 810 w 881"/>
                <a:gd name="T43" fmla="*/ 340 h 889"/>
                <a:gd name="T44" fmla="*/ 809 w 881"/>
                <a:gd name="T45" fmla="*/ 378 h 889"/>
                <a:gd name="T46" fmla="*/ 732 w 881"/>
                <a:gd name="T47" fmla="*/ 412 h 889"/>
                <a:gd name="T48" fmla="*/ 667 w 881"/>
                <a:gd name="T49" fmla="*/ 478 h 889"/>
                <a:gd name="T50" fmla="*/ 734 w 881"/>
                <a:gd name="T51" fmla="*/ 564 h 889"/>
                <a:gd name="T52" fmla="*/ 675 w 881"/>
                <a:gd name="T53" fmla="*/ 554 h 889"/>
                <a:gd name="T54" fmla="*/ 648 w 881"/>
                <a:gd name="T55" fmla="*/ 607 h 889"/>
                <a:gd name="T56" fmla="*/ 662 w 881"/>
                <a:gd name="T57" fmla="*/ 644 h 889"/>
                <a:gd name="T58" fmla="*/ 644 w 881"/>
                <a:gd name="T59" fmla="*/ 748 h 889"/>
                <a:gd name="T60" fmla="*/ 686 w 881"/>
                <a:gd name="T61" fmla="*/ 853 h 889"/>
                <a:gd name="T62" fmla="*/ 577 w 881"/>
                <a:gd name="T63" fmla="*/ 860 h 889"/>
                <a:gd name="T64" fmla="*/ 493 w 881"/>
                <a:gd name="T65" fmla="*/ 776 h 889"/>
                <a:gd name="T66" fmla="*/ 391 w 881"/>
                <a:gd name="T67" fmla="*/ 719 h 889"/>
                <a:gd name="T68" fmla="*/ 355 w 881"/>
                <a:gd name="T69" fmla="*/ 641 h 889"/>
                <a:gd name="T70" fmla="*/ 263 w 881"/>
                <a:gd name="T71" fmla="*/ 624 h 889"/>
                <a:gd name="T72" fmla="*/ 161 w 881"/>
                <a:gd name="T73" fmla="*/ 671 h 889"/>
                <a:gd name="T74" fmla="*/ 125 w 881"/>
                <a:gd name="T75" fmla="*/ 623 h 889"/>
                <a:gd name="T76" fmla="*/ 81 w 881"/>
                <a:gd name="T77" fmla="*/ 544 h 889"/>
                <a:gd name="T78" fmla="*/ 19 w 881"/>
                <a:gd name="T79" fmla="*/ 455 h 889"/>
                <a:gd name="T80" fmla="*/ 41 w 881"/>
                <a:gd name="T81" fmla="*/ 397 h 889"/>
                <a:gd name="T82" fmla="*/ 93 w 881"/>
                <a:gd name="T83" fmla="*/ 304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81" h="889">
                  <a:moveTo>
                    <a:pt x="140" y="244"/>
                  </a:moveTo>
                  <a:lnTo>
                    <a:pt x="140" y="228"/>
                  </a:lnTo>
                  <a:lnTo>
                    <a:pt x="140" y="202"/>
                  </a:lnTo>
                  <a:lnTo>
                    <a:pt x="172" y="194"/>
                  </a:lnTo>
                  <a:lnTo>
                    <a:pt x="213" y="177"/>
                  </a:lnTo>
                  <a:lnTo>
                    <a:pt x="222" y="169"/>
                  </a:lnTo>
                  <a:lnTo>
                    <a:pt x="222" y="160"/>
                  </a:lnTo>
                  <a:lnTo>
                    <a:pt x="230" y="144"/>
                  </a:lnTo>
                  <a:lnTo>
                    <a:pt x="246" y="152"/>
                  </a:lnTo>
                  <a:lnTo>
                    <a:pt x="271" y="160"/>
                  </a:lnTo>
                  <a:lnTo>
                    <a:pt x="271" y="144"/>
                  </a:lnTo>
                  <a:lnTo>
                    <a:pt x="279" y="127"/>
                  </a:lnTo>
                  <a:lnTo>
                    <a:pt x="296" y="135"/>
                  </a:lnTo>
                  <a:lnTo>
                    <a:pt x="312" y="135"/>
                  </a:lnTo>
                  <a:lnTo>
                    <a:pt x="328" y="135"/>
                  </a:lnTo>
                  <a:lnTo>
                    <a:pt x="345" y="127"/>
                  </a:lnTo>
                  <a:lnTo>
                    <a:pt x="361" y="135"/>
                  </a:lnTo>
                  <a:lnTo>
                    <a:pt x="378" y="144"/>
                  </a:lnTo>
                  <a:lnTo>
                    <a:pt x="386" y="144"/>
                  </a:lnTo>
                  <a:lnTo>
                    <a:pt x="402" y="144"/>
                  </a:lnTo>
                  <a:lnTo>
                    <a:pt x="410" y="135"/>
                  </a:lnTo>
                  <a:lnTo>
                    <a:pt x="427" y="127"/>
                  </a:lnTo>
                  <a:lnTo>
                    <a:pt x="443" y="127"/>
                  </a:lnTo>
                  <a:lnTo>
                    <a:pt x="460" y="127"/>
                  </a:lnTo>
                  <a:lnTo>
                    <a:pt x="468" y="101"/>
                  </a:lnTo>
                  <a:lnTo>
                    <a:pt x="477" y="67"/>
                  </a:lnTo>
                  <a:lnTo>
                    <a:pt x="477" y="59"/>
                  </a:lnTo>
                  <a:lnTo>
                    <a:pt x="484" y="42"/>
                  </a:lnTo>
                  <a:lnTo>
                    <a:pt x="493" y="34"/>
                  </a:lnTo>
                  <a:lnTo>
                    <a:pt x="509" y="17"/>
                  </a:lnTo>
                  <a:lnTo>
                    <a:pt x="509" y="8"/>
                  </a:lnTo>
                  <a:lnTo>
                    <a:pt x="509" y="0"/>
                  </a:lnTo>
                  <a:lnTo>
                    <a:pt x="525" y="0"/>
                  </a:lnTo>
                  <a:lnTo>
                    <a:pt x="550" y="0"/>
                  </a:lnTo>
                  <a:lnTo>
                    <a:pt x="550" y="25"/>
                  </a:lnTo>
                  <a:lnTo>
                    <a:pt x="550" y="42"/>
                  </a:lnTo>
                  <a:lnTo>
                    <a:pt x="534" y="67"/>
                  </a:lnTo>
                  <a:lnTo>
                    <a:pt x="518" y="92"/>
                  </a:lnTo>
                  <a:lnTo>
                    <a:pt x="518" y="127"/>
                  </a:lnTo>
                  <a:lnTo>
                    <a:pt x="525" y="152"/>
                  </a:lnTo>
                  <a:lnTo>
                    <a:pt x="534" y="152"/>
                  </a:lnTo>
                  <a:lnTo>
                    <a:pt x="542" y="152"/>
                  </a:lnTo>
                  <a:lnTo>
                    <a:pt x="550" y="144"/>
                  </a:lnTo>
                  <a:lnTo>
                    <a:pt x="559" y="135"/>
                  </a:lnTo>
                  <a:lnTo>
                    <a:pt x="575" y="135"/>
                  </a:lnTo>
                  <a:lnTo>
                    <a:pt x="600" y="135"/>
                  </a:lnTo>
                  <a:lnTo>
                    <a:pt x="607" y="144"/>
                  </a:lnTo>
                  <a:lnTo>
                    <a:pt x="616" y="144"/>
                  </a:lnTo>
                  <a:lnTo>
                    <a:pt x="633" y="144"/>
                  </a:lnTo>
                  <a:lnTo>
                    <a:pt x="648" y="135"/>
                  </a:lnTo>
                  <a:lnTo>
                    <a:pt x="639" y="118"/>
                  </a:lnTo>
                  <a:lnTo>
                    <a:pt x="641" y="97"/>
                  </a:lnTo>
                  <a:lnTo>
                    <a:pt x="691" y="98"/>
                  </a:lnTo>
                  <a:lnTo>
                    <a:pt x="691" y="115"/>
                  </a:lnTo>
                  <a:lnTo>
                    <a:pt x="702" y="126"/>
                  </a:lnTo>
                  <a:lnTo>
                    <a:pt x="743" y="140"/>
                  </a:lnTo>
                  <a:lnTo>
                    <a:pt x="781" y="143"/>
                  </a:lnTo>
                  <a:lnTo>
                    <a:pt x="817" y="132"/>
                  </a:lnTo>
                  <a:lnTo>
                    <a:pt x="845" y="157"/>
                  </a:lnTo>
                  <a:lnTo>
                    <a:pt x="869" y="170"/>
                  </a:lnTo>
                  <a:lnTo>
                    <a:pt x="881" y="186"/>
                  </a:lnTo>
                  <a:lnTo>
                    <a:pt x="878" y="236"/>
                  </a:lnTo>
                  <a:lnTo>
                    <a:pt x="806" y="287"/>
                  </a:lnTo>
                  <a:lnTo>
                    <a:pt x="798" y="304"/>
                  </a:lnTo>
                  <a:lnTo>
                    <a:pt x="807" y="322"/>
                  </a:lnTo>
                  <a:lnTo>
                    <a:pt x="810" y="340"/>
                  </a:lnTo>
                  <a:lnTo>
                    <a:pt x="798" y="354"/>
                  </a:lnTo>
                  <a:lnTo>
                    <a:pt x="813" y="364"/>
                  </a:lnTo>
                  <a:lnTo>
                    <a:pt x="809" y="378"/>
                  </a:lnTo>
                  <a:lnTo>
                    <a:pt x="771" y="389"/>
                  </a:lnTo>
                  <a:lnTo>
                    <a:pt x="764" y="414"/>
                  </a:lnTo>
                  <a:lnTo>
                    <a:pt x="732" y="412"/>
                  </a:lnTo>
                  <a:lnTo>
                    <a:pt x="723" y="436"/>
                  </a:lnTo>
                  <a:lnTo>
                    <a:pt x="690" y="445"/>
                  </a:lnTo>
                  <a:lnTo>
                    <a:pt x="667" y="478"/>
                  </a:lnTo>
                  <a:lnTo>
                    <a:pt x="685" y="505"/>
                  </a:lnTo>
                  <a:lnTo>
                    <a:pt x="732" y="522"/>
                  </a:lnTo>
                  <a:lnTo>
                    <a:pt x="734" y="564"/>
                  </a:lnTo>
                  <a:lnTo>
                    <a:pt x="696" y="571"/>
                  </a:lnTo>
                  <a:lnTo>
                    <a:pt x="659" y="571"/>
                  </a:lnTo>
                  <a:lnTo>
                    <a:pt x="675" y="554"/>
                  </a:lnTo>
                  <a:lnTo>
                    <a:pt x="644" y="538"/>
                  </a:lnTo>
                  <a:lnTo>
                    <a:pt x="624" y="556"/>
                  </a:lnTo>
                  <a:lnTo>
                    <a:pt x="648" y="607"/>
                  </a:lnTo>
                  <a:lnTo>
                    <a:pt x="719" y="612"/>
                  </a:lnTo>
                  <a:lnTo>
                    <a:pt x="692" y="644"/>
                  </a:lnTo>
                  <a:lnTo>
                    <a:pt x="662" y="644"/>
                  </a:lnTo>
                  <a:lnTo>
                    <a:pt x="617" y="712"/>
                  </a:lnTo>
                  <a:lnTo>
                    <a:pt x="617" y="744"/>
                  </a:lnTo>
                  <a:lnTo>
                    <a:pt x="644" y="748"/>
                  </a:lnTo>
                  <a:lnTo>
                    <a:pt x="660" y="763"/>
                  </a:lnTo>
                  <a:lnTo>
                    <a:pt x="642" y="778"/>
                  </a:lnTo>
                  <a:lnTo>
                    <a:pt x="686" y="853"/>
                  </a:lnTo>
                  <a:lnTo>
                    <a:pt x="653" y="889"/>
                  </a:lnTo>
                  <a:lnTo>
                    <a:pt x="608" y="853"/>
                  </a:lnTo>
                  <a:lnTo>
                    <a:pt x="577" y="860"/>
                  </a:lnTo>
                  <a:lnTo>
                    <a:pt x="552" y="800"/>
                  </a:lnTo>
                  <a:lnTo>
                    <a:pt x="513" y="804"/>
                  </a:lnTo>
                  <a:lnTo>
                    <a:pt x="493" y="776"/>
                  </a:lnTo>
                  <a:lnTo>
                    <a:pt x="420" y="778"/>
                  </a:lnTo>
                  <a:lnTo>
                    <a:pt x="428" y="761"/>
                  </a:lnTo>
                  <a:lnTo>
                    <a:pt x="391" y="719"/>
                  </a:lnTo>
                  <a:lnTo>
                    <a:pt x="380" y="676"/>
                  </a:lnTo>
                  <a:lnTo>
                    <a:pt x="344" y="666"/>
                  </a:lnTo>
                  <a:lnTo>
                    <a:pt x="355" y="641"/>
                  </a:lnTo>
                  <a:lnTo>
                    <a:pt x="312" y="643"/>
                  </a:lnTo>
                  <a:lnTo>
                    <a:pt x="297" y="607"/>
                  </a:lnTo>
                  <a:lnTo>
                    <a:pt x="263" y="624"/>
                  </a:lnTo>
                  <a:lnTo>
                    <a:pt x="230" y="628"/>
                  </a:lnTo>
                  <a:lnTo>
                    <a:pt x="168" y="642"/>
                  </a:lnTo>
                  <a:lnTo>
                    <a:pt x="161" y="671"/>
                  </a:lnTo>
                  <a:lnTo>
                    <a:pt x="139" y="676"/>
                  </a:lnTo>
                  <a:lnTo>
                    <a:pt x="120" y="644"/>
                  </a:lnTo>
                  <a:lnTo>
                    <a:pt x="125" y="623"/>
                  </a:lnTo>
                  <a:lnTo>
                    <a:pt x="125" y="577"/>
                  </a:lnTo>
                  <a:lnTo>
                    <a:pt x="67" y="556"/>
                  </a:lnTo>
                  <a:lnTo>
                    <a:pt x="81" y="544"/>
                  </a:lnTo>
                  <a:lnTo>
                    <a:pt x="86" y="512"/>
                  </a:lnTo>
                  <a:lnTo>
                    <a:pt x="19" y="493"/>
                  </a:lnTo>
                  <a:lnTo>
                    <a:pt x="19" y="455"/>
                  </a:lnTo>
                  <a:lnTo>
                    <a:pt x="0" y="450"/>
                  </a:lnTo>
                  <a:lnTo>
                    <a:pt x="5" y="409"/>
                  </a:lnTo>
                  <a:lnTo>
                    <a:pt x="41" y="397"/>
                  </a:lnTo>
                  <a:lnTo>
                    <a:pt x="67" y="390"/>
                  </a:lnTo>
                  <a:lnTo>
                    <a:pt x="84" y="354"/>
                  </a:lnTo>
                  <a:lnTo>
                    <a:pt x="93" y="304"/>
                  </a:lnTo>
                  <a:lnTo>
                    <a:pt x="107" y="279"/>
                  </a:lnTo>
                  <a:lnTo>
                    <a:pt x="131" y="254"/>
                  </a:lnTo>
                </a:path>
              </a:pathLst>
            </a:custGeom>
            <a:solidFill>
              <a:srgbClr val="99CC00"/>
            </a:solidFill>
            <a:ln w="9525" cap="rnd" cmpd="sng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4" name="Freeform 7"/>
            <p:cNvSpPr>
              <a:spLocks/>
            </p:cNvSpPr>
            <p:nvPr/>
          </p:nvSpPr>
          <p:spPr bwMode="auto">
            <a:xfrm rot="21059249">
              <a:off x="1478620" y="4369198"/>
              <a:ext cx="2687947" cy="1937792"/>
            </a:xfrm>
            <a:custGeom>
              <a:avLst/>
              <a:gdLst>
                <a:gd name="T0" fmla="*/ 120 w 1697"/>
                <a:gd name="T1" fmla="*/ 160 h 1233"/>
                <a:gd name="T2" fmla="*/ 128 w 1697"/>
                <a:gd name="T3" fmla="*/ 64 h 1233"/>
                <a:gd name="T4" fmla="*/ 208 w 1697"/>
                <a:gd name="T5" fmla="*/ 56 h 1233"/>
                <a:gd name="T6" fmla="*/ 280 w 1697"/>
                <a:gd name="T7" fmla="*/ 56 h 1233"/>
                <a:gd name="T8" fmla="*/ 432 w 1697"/>
                <a:gd name="T9" fmla="*/ 88 h 1233"/>
                <a:gd name="T10" fmla="*/ 496 w 1697"/>
                <a:gd name="T11" fmla="*/ 232 h 1233"/>
                <a:gd name="T12" fmla="*/ 568 w 1697"/>
                <a:gd name="T13" fmla="*/ 240 h 1233"/>
                <a:gd name="T14" fmla="*/ 600 w 1697"/>
                <a:gd name="T15" fmla="*/ 304 h 1233"/>
                <a:gd name="T16" fmla="*/ 696 w 1697"/>
                <a:gd name="T17" fmla="*/ 344 h 1233"/>
                <a:gd name="T18" fmla="*/ 680 w 1697"/>
                <a:gd name="T19" fmla="*/ 272 h 1233"/>
                <a:gd name="T20" fmla="*/ 744 w 1697"/>
                <a:gd name="T21" fmla="*/ 240 h 1233"/>
                <a:gd name="T22" fmla="*/ 768 w 1697"/>
                <a:gd name="T23" fmla="*/ 208 h 1233"/>
                <a:gd name="T24" fmla="*/ 848 w 1697"/>
                <a:gd name="T25" fmla="*/ 200 h 1233"/>
                <a:gd name="T26" fmla="*/ 936 w 1697"/>
                <a:gd name="T27" fmla="*/ 232 h 1233"/>
                <a:gd name="T28" fmla="*/ 1056 w 1697"/>
                <a:gd name="T29" fmla="*/ 232 h 1233"/>
                <a:gd name="T30" fmla="*/ 1120 w 1697"/>
                <a:gd name="T31" fmla="*/ 224 h 1233"/>
                <a:gd name="T32" fmla="*/ 1168 w 1697"/>
                <a:gd name="T33" fmla="*/ 272 h 1233"/>
                <a:gd name="T34" fmla="*/ 1168 w 1697"/>
                <a:gd name="T35" fmla="*/ 328 h 1233"/>
                <a:gd name="T36" fmla="*/ 1224 w 1697"/>
                <a:gd name="T37" fmla="*/ 384 h 1233"/>
                <a:gd name="T38" fmla="*/ 1248 w 1697"/>
                <a:gd name="T39" fmla="*/ 408 h 1233"/>
                <a:gd name="T40" fmla="*/ 1312 w 1697"/>
                <a:gd name="T41" fmla="*/ 392 h 1233"/>
                <a:gd name="T42" fmla="*/ 1368 w 1697"/>
                <a:gd name="T43" fmla="*/ 472 h 1233"/>
                <a:gd name="T44" fmla="*/ 1472 w 1697"/>
                <a:gd name="T45" fmla="*/ 656 h 1233"/>
                <a:gd name="T46" fmla="*/ 1536 w 1697"/>
                <a:gd name="T47" fmla="*/ 680 h 1233"/>
                <a:gd name="T48" fmla="*/ 1608 w 1697"/>
                <a:gd name="T49" fmla="*/ 760 h 1233"/>
                <a:gd name="T50" fmla="*/ 1672 w 1697"/>
                <a:gd name="T51" fmla="*/ 816 h 1233"/>
                <a:gd name="T52" fmla="*/ 1592 w 1697"/>
                <a:gd name="T53" fmla="*/ 880 h 1233"/>
                <a:gd name="T54" fmla="*/ 1544 w 1697"/>
                <a:gd name="T55" fmla="*/ 960 h 1233"/>
                <a:gd name="T56" fmla="*/ 1440 w 1697"/>
                <a:gd name="T57" fmla="*/ 976 h 1233"/>
                <a:gd name="T58" fmla="*/ 1376 w 1697"/>
                <a:gd name="T59" fmla="*/ 1040 h 1233"/>
                <a:gd name="T60" fmla="*/ 1312 w 1697"/>
                <a:gd name="T61" fmla="*/ 1064 h 1233"/>
                <a:gd name="T62" fmla="*/ 1264 w 1697"/>
                <a:gd name="T63" fmla="*/ 1232 h 1233"/>
                <a:gd name="T64" fmla="*/ 1176 w 1697"/>
                <a:gd name="T65" fmla="*/ 1144 h 1233"/>
                <a:gd name="T66" fmla="*/ 1064 w 1697"/>
                <a:gd name="T67" fmla="*/ 1104 h 1233"/>
                <a:gd name="T68" fmla="*/ 880 w 1697"/>
                <a:gd name="T69" fmla="*/ 1040 h 1233"/>
                <a:gd name="T70" fmla="*/ 776 w 1697"/>
                <a:gd name="T71" fmla="*/ 1056 h 1233"/>
                <a:gd name="T72" fmla="*/ 672 w 1697"/>
                <a:gd name="T73" fmla="*/ 1088 h 1233"/>
                <a:gd name="T74" fmla="*/ 592 w 1697"/>
                <a:gd name="T75" fmla="*/ 1040 h 1233"/>
                <a:gd name="T76" fmla="*/ 600 w 1697"/>
                <a:gd name="T77" fmla="*/ 840 h 1233"/>
                <a:gd name="T78" fmla="*/ 456 w 1697"/>
                <a:gd name="T79" fmla="*/ 696 h 1233"/>
                <a:gd name="T80" fmla="*/ 272 w 1697"/>
                <a:gd name="T81" fmla="*/ 544 h 1233"/>
                <a:gd name="T82" fmla="*/ 136 w 1697"/>
                <a:gd name="T83" fmla="*/ 744 h 1233"/>
                <a:gd name="T84" fmla="*/ 72 w 1697"/>
                <a:gd name="T85" fmla="*/ 608 h 1233"/>
                <a:gd name="T86" fmla="*/ 32 w 1697"/>
                <a:gd name="T87" fmla="*/ 544 h 1233"/>
                <a:gd name="T88" fmla="*/ 24 w 1697"/>
                <a:gd name="T89" fmla="*/ 408 h 1233"/>
                <a:gd name="T90" fmla="*/ 96 w 1697"/>
                <a:gd name="T91" fmla="*/ 440 h 1233"/>
                <a:gd name="T92" fmla="*/ 152 w 1697"/>
                <a:gd name="T93" fmla="*/ 424 h 1233"/>
                <a:gd name="T94" fmla="*/ 224 w 1697"/>
                <a:gd name="T95" fmla="*/ 376 h 1233"/>
                <a:gd name="T96" fmla="*/ 184 w 1697"/>
                <a:gd name="T97" fmla="*/ 312 h 1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97" h="1233">
                  <a:moveTo>
                    <a:pt x="88" y="280"/>
                  </a:moveTo>
                  <a:lnTo>
                    <a:pt x="80" y="232"/>
                  </a:lnTo>
                  <a:lnTo>
                    <a:pt x="104" y="200"/>
                  </a:lnTo>
                  <a:lnTo>
                    <a:pt x="120" y="160"/>
                  </a:lnTo>
                  <a:lnTo>
                    <a:pt x="72" y="128"/>
                  </a:lnTo>
                  <a:lnTo>
                    <a:pt x="104" y="112"/>
                  </a:lnTo>
                  <a:lnTo>
                    <a:pt x="80" y="80"/>
                  </a:lnTo>
                  <a:lnTo>
                    <a:pt x="128" y="64"/>
                  </a:lnTo>
                  <a:lnTo>
                    <a:pt x="152" y="32"/>
                  </a:lnTo>
                  <a:lnTo>
                    <a:pt x="216" y="0"/>
                  </a:lnTo>
                  <a:lnTo>
                    <a:pt x="216" y="32"/>
                  </a:lnTo>
                  <a:lnTo>
                    <a:pt x="208" y="56"/>
                  </a:lnTo>
                  <a:lnTo>
                    <a:pt x="240" y="88"/>
                  </a:lnTo>
                  <a:lnTo>
                    <a:pt x="240" y="48"/>
                  </a:lnTo>
                  <a:lnTo>
                    <a:pt x="256" y="32"/>
                  </a:lnTo>
                  <a:lnTo>
                    <a:pt x="280" y="56"/>
                  </a:lnTo>
                  <a:lnTo>
                    <a:pt x="360" y="48"/>
                  </a:lnTo>
                  <a:lnTo>
                    <a:pt x="384" y="32"/>
                  </a:lnTo>
                  <a:lnTo>
                    <a:pt x="384" y="56"/>
                  </a:lnTo>
                  <a:lnTo>
                    <a:pt x="432" y="88"/>
                  </a:lnTo>
                  <a:lnTo>
                    <a:pt x="424" y="104"/>
                  </a:lnTo>
                  <a:lnTo>
                    <a:pt x="456" y="136"/>
                  </a:lnTo>
                  <a:lnTo>
                    <a:pt x="456" y="176"/>
                  </a:lnTo>
                  <a:lnTo>
                    <a:pt x="496" y="232"/>
                  </a:lnTo>
                  <a:lnTo>
                    <a:pt x="528" y="216"/>
                  </a:lnTo>
                  <a:lnTo>
                    <a:pt x="536" y="240"/>
                  </a:lnTo>
                  <a:lnTo>
                    <a:pt x="552" y="216"/>
                  </a:lnTo>
                  <a:lnTo>
                    <a:pt x="568" y="240"/>
                  </a:lnTo>
                  <a:lnTo>
                    <a:pt x="560" y="256"/>
                  </a:lnTo>
                  <a:lnTo>
                    <a:pt x="584" y="248"/>
                  </a:lnTo>
                  <a:lnTo>
                    <a:pt x="600" y="272"/>
                  </a:lnTo>
                  <a:lnTo>
                    <a:pt x="600" y="304"/>
                  </a:lnTo>
                  <a:lnTo>
                    <a:pt x="624" y="336"/>
                  </a:lnTo>
                  <a:lnTo>
                    <a:pt x="640" y="320"/>
                  </a:lnTo>
                  <a:lnTo>
                    <a:pt x="672" y="352"/>
                  </a:lnTo>
                  <a:lnTo>
                    <a:pt x="696" y="344"/>
                  </a:lnTo>
                  <a:lnTo>
                    <a:pt x="720" y="328"/>
                  </a:lnTo>
                  <a:lnTo>
                    <a:pt x="704" y="304"/>
                  </a:lnTo>
                  <a:lnTo>
                    <a:pt x="720" y="288"/>
                  </a:lnTo>
                  <a:lnTo>
                    <a:pt x="680" y="272"/>
                  </a:lnTo>
                  <a:lnTo>
                    <a:pt x="696" y="248"/>
                  </a:lnTo>
                  <a:lnTo>
                    <a:pt x="712" y="248"/>
                  </a:lnTo>
                  <a:lnTo>
                    <a:pt x="720" y="272"/>
                  </a:lnTo>
                  <a:lnTo>
                    <a:pt x="744" y="240"/>
                  </a:lnTo>
                  <a:lnTo>
                    <a:pt x="760" y="216"/>
                  </a:lnTo>
                  <a:lnTo>
                    <a:pt x="784" y="240"/>
                  </a:lnTo>
                  <a:lnTo>
                    <a:pt x="808" y="232"/>
                  </a:lnTo>
                  <a:lnTo>
                    <a:pt x="768" y="208"/>
                  </a:lnTo>
                  <a:lnTo>
                    <a:pt x="792" y="192"/>
                  </a:lnTo>
                  <a:lnTo>
                    <a:pt x="776" y="168"/>
                  </a:lnTo>
                  <a:lnTo>
                    <a:pt x="800" y="160"/>
                  </a:lnTo>
                  <a:lnTo>
                    <a:pt x="848" y="200"/>
                  </a:lnTo>
                  <a:lnTo>
                    <a:pt x="888" y="192"/>
                  </a:lnTo>
                  <a:lnTo>
                    <a:pt x="904" y="208"/>
                  </a:lnTo>
                  <a:lnTo>
                    <a:pt x="928" y="200"/>
                  </a:lnTo>
                  <a:lnTo>
                    <a:pt x="936" y="232"/>
                  </a:lnTo>
                  <a:lnTo>
                    <a:pt x="960" y="216"/>
                  </a:lnTo>
                  <a:lnTo>
                    <a:pt x="984" y="216"/>
                  </a:lnTo>
                  <a:lnTo>
                    <a:pt x="1032" y="232"/>
                  </a:lnTo>
                  <a:lnTo>
                    <a:pt x="1056" y="232"/>
                  </a:lnTo>
                  <a:lnTo>
                    <a:pt x="1080" y="224"/>
                  </a:lnTo>
                  <a:lnTo>
                    <a:pt x="1088" y="208"/>
                  </a:lnTo>
                  <a:lnTo>
                    <a:pt x="1112" y="232"/>
                  </a:lnTo>
                  <a:lnTo>
                    <a:pt x="1120" y="224"/>
                  </a:lnTo>
                  <a:lnTo>
                    <a:pt x="1136" y="240"/>
                  </a:lnTo>
                  <a:lnTo>
                    <a:pt x="1128" y="264"/>
                  </a:lnTo>
                  <a:lnTo>
                    <a:pt x="1160" y="248"/>
                  </a:lnTo>
                  <a:lnTo>
                    <a:pt x="1168" y="272"/>
                  </a:lnTo>
                  <a:lnTo>
                    <a:pt x="1160" y="304"/>
                  </a:lnTo>
                  <a:lnTo>
                    <a:pt x="1136" y="320"/>
                  </a:lnTo>
                  <a:lnTo>
                    <a:pt x="1144" y="336"/>
                  </a:lnTo>
                  <a:lnTo>
                    <a:pt x="1168" y="328"/>
                  </a:lnTo>
                  <a:lnTo>
                    <a:pt x="1176" y="352"/>
                  </a:lnTo>
                  <a:lnTo>
                    <a:pt x="1200" y="368"/>
                  </a:lnTo>
                  <a:lnTo>
                    <a:pt x="1208" y="360"/>
                  </a:lnTo>
                  <a:lnTo>
                    <a:pt x="1224" y="384"/>
                  </a:lnTo>
                  <a:lnTo>
                    <a:pt x="1208" y="408"/>
                  </a:lnTo>
                  <a:lnTo>
                    <a:pt x="1224" y="424"/>
                  </a:lnTo>
                  <a:lnTo>
                    <a:pt x="1232" y="408"/>
                  </a:lnTo>
                  <a:lnTo>
                    <a:pt x="1248" y="408"/>
                  </a:lnTo>
                  <a:lnTo>
                    <a:pt x="1256" y="424"/>
                  </a:lnTo>
                  <a:lnTo>
                    <a:pt x="1272" y="400"/>
                  </a:lnTo>
                  <a:lnTo>
                    <a:pt x="1288" y="424"/>
                  </a:lnTo>
                  <a:lnTo>
                    <a:pt x="1312" y="392"/>
                  </a:lnTo>
                  <a:lnTo>
                    <a:pt x="1360" y="400"/>
                  </a:lnTo>
                  <a:lnTo>
                    <a:pt x="1328" y="408"/>
                  </a:lnTo>
                  <a:lnTo>
                    <a:pt x="1344" y="432"/>
                  </a:lnTo>
                  <a:lnTo>
                    <a:pt x="1368" y="472"/>
                  </a:lnTo>
                  <a:lnTo>
                    <a:pt x="1392" y="568"/>
                  </a:lnTo>
                  <a:lnTo>
                    <a:pt x="1408" y="672"/>
                  </a:lnTo>
                  <a:lnTo>
                    <a:pt x="1448" y="640"/>
                  </a:lnTo>
                  <a:lnTo>
                    <a:pt x="1472" y="656"/>
                  </a:lnTo>
                  <a:lnTo>
                    <a:pt x="1456" y="664"/>
                  </a:lnTo>
                  <a:lnTo>
                    <a:pt x="1488" y="696"/>
                  </a:lnTo>
                  <a:lnTo>
                    <a:pt x="1520" y="704"/>
                  </a:lnTo>
                  <a:lnTo>
                    <a:pt x="1536" y="680"/>
                  </a:lnTo>
                  <a:lnTo>
                    <a:pt x="1560" y="688"/>
                  </a:lnTo>
                  <a:lnTo>
                    <a:pt x="1576" y="712"/>
                  </a:lnTo>
                  <a:lnTo>
                    <a:pt x="1568" y="744"/>
                  </a:lnTo>
                  <a:lnTo>
                    <a:pt x="1608" y="760"/>
                  </a:lnTo>
                  <a:lnTo>
                    <a:pt x="1608" y="784"/>
                  </a:lnTo>
                  <a:lnTo>
                    <a:pt x="1640" y="816"/>
                  </a:lnTo>
                  <a:lnTo>
                    <a:pt x="1672" y="792"/>
                  </a:lnTo>
                  <a:lnTo>
                    <a:pt x="1672" y="816"/>
                  </a:lnTo>
                  <a:lnTo>
                    <a:pt x="1696" y="848"/>
                  </a:lnTo>
                  <a:lnTo>
                    <a:pt x="1664" y="848"/>
                  </a:lnTo>
                  <a:lnTo>
                    <a:pt x="1648" y="880"/>
                  </a:lnTo>
                  <a:lnTo>
                    <a:pt x="1592" y="880"/>
                  </a:lnTo>
                  <a:lnTo>
                    <a:pt x="1584" y="896"/>
                  </a:lnTo>
                  <a:lnTo>
                    <a:pt x="1592" y="952"/>
                  </a:lnTo>
                  <a:lnTo>
                    <a:pt x="1544" y="976"/>
                  </a:lnTo>
                  <a:lnTo>
                    <a:pt x="1544" y="960"/>
                  </a:lnTo>
                  <a:lnTo>
                    <a:pt x="1496" y="952"/>
                  </a:lnTo>
                  <a:lnTo>
                    <a:pt x="1480" y="936"/>
                  </a:lnTo>
                  <a:lnTo>
                    <a:pt x="1456" y="936"/>
                  </a:lnTo>
                  <a:lnTo>
                    <a:pt x="1440" y="976"/>
                  </a:lnTo>
                  <a:lnTo>
                    <a:pt x="1416" y="1024"/>
                  </a:lnTo>
                  <a:lnTo>
                    <a:pt x="1424" y="1048"/>
                  </a:lnTo>
                  <a:lnTo>
                    <a:pt x="1408" y="1064"/>
                  </a:lnTo>
                  <a:lnTo>
                    <a:pt x="1376" y="1040"/>
                  </a:lnTo>
                  <a:lnTo>
                    <a:pt x="1368" y="1040"/>
                  </a:lnTo>
                  <a:lnTo>
                    <a:pt x="1280" y="1040"/>
                  </a:lnTo>
                  <a:lnTo>
                    <a:pt x="1288" y="1056"/>
                  </a:lnTo>
                  <a:lnTo>
                    <a:pt x="1312" y="1064"/>
                  </a:lnTo>
                  <a:lnTo>
                    <a:pt x="1296" y="1088"/>
                  </a:lnTo>
                  <a:lnTo>
                    <a:pt x="1296" y="1176"/>
                  </a:lnTo>
                  <a:lnTo>
                    <a:pt x="1272" y="1168"/>
                  </a:lnTo>
                  <a:lnTo>
                    <a:pt x="1264" y="1232"/>
                  </a:lnTo>
                  <a:lnTo>
                    <a:pt x="1224" y="1224"/>
                  </a:lnTo>
                  <a:lnTo>
                    <a:pt x="1232" y="1192"/>
                  </a:lnTo>
                  <a:lnTo>
                    <a:pt x="1208" y="1168"/>
                  </a:lnTo>
                  <a:lnTo>
                    <a:pt x="1176" y="1144"/>
                  </a:lnTo>
                  <a:lnTo>
                    <a:pt x="1144" y="1136"/>
                  </a:lnTo>
                  <a:lnTo>
                    <a:pt x="1112" y="1120"/>
                  </a:lnTo>
                  <a:lnTo>
                    <a:pt x="1080" y="1120"/>
                  </a:lnTo>
                  <a:lnTo>
                    <a:pt x="1064" y="1104"/>
                  </a:lnTo>
                  <a:lnTo>
                    <a:pt x="1048" y="1120"/>
                  </a:lnTo>
                  <a:lnTo>
                    <a:pt x="976" y="1056"/>
                  </a:lnTo>
                  <a:lnTo>
                    <a:pt x="936" y="1096"/>
                  </a:lnTo>
                  <a:lnTo>
                    <a:pt x="880" y="1040"/>
                  </a:lnTo>
                  <a:lnTo>
                    <a:pt x="832" y="1032"/>
                  </a:lnTo>
                  <a:lnTo>
                    <a:pt x="816" y="1056"/>
                  </a:lnTo>
                  <a:lnTo>
                    <a:pt x="792" y="1064"/>
                  </a:lnTo>
                  <a:lnTo>
                    <a:pt x="776" y="1056"/>
                  </a:lnTo>
                  <a:lnTo>
                    <a:pt x="768" y="1072"/>
                  </a:lnTo>
                  <a:lnTo>
                    <a:pt x="736" y="1072"/>
                  </a:lnTo>
                  <a:lnTo>
                    <a:pt x="712" y="1072"/>
                  </a:lnTo>
                  <a:lnTo>
                    <a:pt x="672" y="1088"/>
                  </a:lnTo>
                  <a:lnTo>
                    <a:pt x="648" y="1120"/>
                  </a:lnTo>
                  <a:lnTo>
                    <a:pt x="648" y="1088"/>
                  </a:lnTo>
                  <a:lnTo>
                    <a:pt x="656" y="1064"/>
                  </a:lnTo>
                  <a:lnTo>
                    <a:pt x="592" y="1040"/>
                  </a:lnTo>
                  <a:lnTo>
                    <a:pt x="592" y="960"/>
                  </a:lnTo>
                  <a:lnTo>
                    <a:pt x="616" y="928"/>
                  </a:lnTo>
                  <a:lnTo>
                    <a:pt x="616" y="904"/>
                  </a:lnTo>
                  <a:lnTo>
                    <a:pt x="600" y="840"/>
                  </a:lnTo>
                  <a:lnTo>
                    <a:pt x="544" y="816"/>
                  </a:lnTo>
                  <a:lnTo>
                    <a:pt x="480" y="792"/>
                  </a:lnTo>
                  <a:lnTo>
                    <a:pt x="456" y="744"/>
                  </a:lnTo>
                  <a:lnTo>
                    <a:pt x="456" y="696"/>
                  </a:lnTo>
                  <a:lnTo>
                    <a:pt x="424" y="640"/>
                  </a:lnTo>
                  <a:lnTo>
                    <a:pt x="400" y="576"/>
                  </a:lnTo>
                  <a:lnTo>
                    <a:pt x="352" y="568"/>
                  </a:lnTo>
                  <a:lnTo>
                    <a:pt x="272" y="544"/>
                  </a:lnTo>
                  <a:lnTo>
                    <a:pt x="240" y="592"/>
                  </a:lnTo>
                  <a:lnTo>
                    <a:pt x="208" y="632"/>
                  </a:lnTo>
                  <a:lnTo>
                    <a:pt x="176" y="680"/>
                  </a:lnTo>
                  <a:lnTo>
                    <a:pt x="136" y="744"/>
                  </a:lnTo>
                  <a:lnTo>
                    <a:pt x="104" y="720"/>
                  </a:lnTo>
                  <a:lnTo>
                    <a:pt x="96" y="680"/>
                  </a:lnTo>
                  <a:lnTo>
                    <a:pt x="112" y="656"/>
                  </a:lnTo>
                  <a:lnTo>
                    <a:pt x="72" y="608"/>
                  </a:lnTo>
                  <a:lnTo>
                    <a:pt x="0" y="616"/>
                  </a:lnTo>
                  <a:lnTo>
                    <a:pt x="16" y="592"/>
                  </a:lnTo>
                  <a:lnTo>
                    <a:pt x="48" y="576"/>
                  </a:lnTo>
                  <a:lnTo>
                    <a:pt x="32" y="544"/>
                  </a:lnTo>
                  <a:lnTo>
                    <a:pt x="24" y="512"/>
                  </a:lnTo>
                  <a:lnTo>
                    <a:pt x="24" y="472"/>
                  </a:lnTo>
                  <a:lnTo>
                    <a:pt x="40" y="440"/>
                  </a:lnTo>
                  <a:lnTo>
                    <a:pt x="24" y="408"/>
                  </a:lnTo>
                  <a:lnTo>
                    <a:pt x="48" y="392"/>
                  </a:lnTo>
                  <a:lnTo>
                    <a:pt x="64" y="416"/>
                  </a:lnTo>
                  <a:lnTo>
                    <a:pt x="64" y="440"/>
                  </a:lnTo>
                  <a:lnTo>
                    <a:pt x="96" y="440"/>
                  </a:lnTo>
                  <a:lnTo>
                    <a:pt x="72" y="424"/>
                  </a:lnTo>
                  <a:lnTo>
                    <a:pt x="80" y="400"/>
                  </a:lnTo>
                  <a:lnTo>
                    <a:pt x="120" y="400"/>
                  </a:lnTo>
                  <a:lnTo>
                    <a:pt x="152" y="424"/>
                  </a:lnTo>
                  <a:lnTo>
                    <a:pt x="184" y="456"/>
                  </a:lnTo>
                  <a:lnTo>
                    <a:pt x="168" y="416"/>
                  </a:lnTo>
                  <a:lnTo>
                    <a:pt x="208" y="416"/>
                  </a:lnTo>
                  <a:lnTo>
                    <a:pt x="224" y="376"/>
                  </a:lnTo>
                  <a:lnTo>
                    <a:pt x="248" y="368"/>
                  </a:lnTo>
                  <a:lnTo>
                    <a:pt x="240" y="352"/>
                  </a:lnTo>
                  <a:lnTo>
                    <a:pt x="200" y="336"/>
                  </a:lnTo>
                  <a:lnTo>
                    <a:pt x="184" y="312"/>
                  </a:lnTo>
                  <a:lnTo>
                    <a:pt x="160" y="296"/>
                  </a:lnTo>
                  <a:lnTo>
                    <a:pt x="136" y="280"/>
                  </a:lnTo>
                  <a:lnTo>
                    <a:pt x="88" y="280"/>
                  </a:lnTo>
                </a:path>
              </a:pathLst>
            </a:custGeom>
            <a:solidFill>
              <a:schemeClr val="bg2"/>
            </a:solidFill>
            <a:ln w="9525" cap="rnd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endParaRPr lang="ru-RU"/>
            </a:p>
          </p:txBody>
        </p:sp>
        <p:sp>
          <p:nvSpPr>
            <p:cNvPr id="25" name="Freeform 29"/>
            <p:cNvSpPr>
              <a:spLocks/>
            </p:cNvSpPr>
            <p:nvPr/>
          </p:nvSpPr>
          <p:spPr bwMode="auto">
            <a:xfrm>
              <a:off x="2190733" y="4208267"/>
              <a:ext cx="464198" cy="683215"/>
            </a:xfrm>
            <a:custGeom>
              <a:avLst/>
              <a:gdLst>
                <a:gd name="T0" fmla="*/ 126 w 230"/>
                <a:gd name="T1" fmla="*/ 320 h 353"/>
                <a:gd name="T2" fmla="*/ 118 w 230"/>
                <a:gd name="T3" fmla="*/ 320 h 353"/>
                <a:gd name="T4" fmla="*/ 96 w 230"/>
                <a:gd name="T5" fmla="*/ 344 h 353"/>
                <a:gd name="T6" fmla="*/ 81 w 230"/>
                <a:gd name="T7" fmla="*/ 352 h 353"/>
                <a:gd name="T8" fmla="*/ 74 w 230"/>
                <a:gd name="T9" fmla="*/ 336 h 353"/>
                <a:gd name="T10" fmla="*/ 59 w 230"/>
                <a:gd name="T11" fmla="*/ 328 h 353"/>
                <a:gd name="T12" fmla="*/ 37 w 230"/>
                <a:gd name="T13" fmla="*/ 336 h 353"/>
                <a:gd name="T14" fmla="*/ 30 w 230"/>
                <a:gd name="T15" fmla="*/ 320 h 353"/>
                <a:gd name="T16" fmla="*/ 30 w 230"/>
                <a:gd name="T17" fmla="*/ 288 h 353"/>
                <a:gd name="T18" fmla="*/ 44 w 230"/>
                <a:gd name="T19" fmla="*/ 272 h 353"/>
                <a:gd name="T20" fmla="*/ 30 w 230"/>
                <a:gd name="T21" fmla="*/ 256 h 353"/>
                <a:gd name="T22" fmla="*/ 15 w 230"/>
                <a:gd name="T23" fmla="*/ 272 h 353"/>
                <a:gd name="T24" fmla="*/ 7 w 230"/>
                <a:gd name="T25" fmla="*/ 240 h 353"/>
                <a:gd name="T26" fmla="*/ 15 w 230"/>
                <a:gd name="T27" fmla="*/ 208 h 353"/>
                <a:gd name="T28" fmla="*/ 0 w 230"/>
                <a:gd name="T29" fmla="*/ 168 h 353"/>
                <a:gd name="T30" fmla="*/ 0 w 230"/>
                <a:gd name="T31" fmla="*/ 104 h 353"/>
                <a:gd name="T32" fmla="*/ 22 w 230"/>
                <a:gd name="T33" fmla="*/ 80 h 353"/>
                <a:gd name="T34" fmla="*/ 15 w 230"/>
                <a:gd name="T35" fmla="*/ 56 h 353"/>
                <a:gd name="T36" fmla="*/ 52 w 230"/>
                <a:gd name="T37" fmla="*/ 56 h 353"/>
                <a:gd name="T38" fmla="*/ 59 w 230"/>
                <a:gd name="T39" fmla="*/ 24 h 353"/>
                <a:gd name="T40" fmla="*/ 96 w 230"/>
                <a:gd name="T41" fmla="*/ 0 h 353"/>
                <a:gd name="T42" fmla="*/ 103 w 230"/>
                <a:gd name="T43" fmla="*/ 0 h 353"/>
                <a:gd name="T44" fmla="*/ 103 w 230"/>
                <a:gd name="T45" fmla="*/ 16 h 353"/>
                <a:gd name="T46" fmla="*/ 118 w 230"/>
                <a:gd name="T47" fmla="*/ 24 h 353"/>
                <a:gd name="T48" fmla="*/ 118 w 230"/>
                <a:gd name="T49" fmla="*/ 40 h 353"/>
                <a:gd name="T50" fmla="*/ 148 w 230"/>
                <a:gd name="T51" fmla="*/ 40 h 353"/>
                <a:gd name="T52" fmla="*/ 148 w 230"/>
                <a:gd name="T53" fmla="*/ 56 h 353"/>
                <a:gd name="T54" fmla="*/ 170 w 230"/>
                <a:gd name="T55" fmla="*/ 64 h 353"/>
                <a:gd name="T56" fmla="*/ 185 w 230"/>
                <a:gd name="T57" fmla="*/ 88 h 353"/>
                <a:gd name="T58" fmla="*/ 229 w 230"/>
                <a:gd name="T59" fmla="*/ 104 h 353"/>
                <a:gd name="T60" fmla="*/ 229 w 230"/>
                <a:gd name="T61" fmla="*/ 144 h 353"/>
                <a:gd name="T62" fmla="*/ 192 w 230"/>
                <a:gd name="T63" fmla="*/ 152 h 353"/>
                <a:gd name="T64" fmla="*/ 163 w 230"/>
                <a:gd name="T65" fmla="*/ 152 h 353"/>
                <a:gd name="T66" fmla="*/ 177 w 230"/>
                <a:gd name="T67" fmla="*/ 136 h 353"/>
                <a:gd name="T68" fmla="*/ 148 w 230"/>
                <a:gd name="T69" fmla="*/ 120 h 353"/>
                <a:gd name="T70" fmla="*/ 133 w 230"/>
                <a:gd name="T71" fmla="*/ 136 h 353"/>
                <a:gd name="T72" fmla="*/ 140 w 230"/>
                <a:gd name="T73" fmla="*/ 160 h 353"/>
                <a:gd name="T74" fmla="*/ 148 w 230"/>
                <a:gd name="T75" fmla="*/ 184 h 353"/>
                <a:gd name="T76" fmla="*/ 214 w 230"/>
                <a:gd name="T77" fmla="*/ 192 h 353"/>
                <a:gd name="T78" fmla="*/ 192 w 230"/>
                <a:gd name="T79" fmla="*/ 224 h 353"/>
                <a:gd name="T80" fmla="*/ 163 w 230"/>
                <a:gd name="T81" fmla="*/ 224 h 353"/>
                <a:gd name="T82" fmla="*/ 126 w 230"/>
                <a:gd name="T83" fmla="*/ 288 h 353"/>
                <a:gd name="T84" fmla="*/ 126 w 230"/>
                <a:gd name="T85" fmla="*/ 32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30" h="353">
                  <a:moveTo>
                    <a:pt x="126" y="320"/>
                  </a:moveTo>
                  <a:lnTo>
                    <a:pt x="118" y="320"/>
                  </a:lnTo>
                  <a:lnTo>
                    <a:pt x="96" y="344"/>
                  </a:lnTo>
                  <a:lnTo>
                    <a:pt x="81" y="352"/>
                  </a:lnTo>
                  <a:lnTo>
                    <a:pt x="74" y="336"/>
                  </a:lnTo>
                  <a:lnTo>
                    <a:pt x="59" y="328"/>
                  </a:lnTo>
                  <a:lnTo>
                    <a:pt x="37" y="336"/>
                  </a:lnTo>
                  <a:lnTo>
                    <a:pt x="30" y="320"/>
                  </a:lnTo>
                  <a:lnTo>
                    <a:pt x="30" y="288"/>
                  </a:lnTo>
                  <a:lnTo>
                    <a:pt x="44" y="272"/>
                  </a:lnTo>
                  <a:lnTo>
                    <a:pt x="30" y="256"/>
                  </a:lnTo>
                  <a:lnTo>
                    <a:pt x="15" y="272"/>
                  </a:lnTo>
                  <a:lnTo>
                    <a:pt x="7" y="240"/>
                  </a:lnTo>
                  <a:lnTo>
                    <a:pt x="15" y="208"/>
                  </a:lnTo>
                  <a:lnTo>
                    <a:pt x="0" y="168"/>
                  </a:lnTo>
                  <a:lnTo>
                    <a:pt x="0" y="104"/>
                  </a:lnTo>
                  <a:lnTo>
                    <a:pt x="22" y="80"/>
                  </a:lnTo>
                  <a:lnTo>
                    <a:pt x="15" y="56"/>
                  </a:lnTo>
                  <a:lnTo>
                    <a:pt x="52" y="56"/>
                  </a:lnTo>
                  <a:lnTo>
                    <a:pt x="59" y="24"/>
                  </a:lnTo>
                  <a:lnTo>
                    <a:pt x="96" y="0"/>
                  </a:lnTo>
                  <a:lnTo>
                    <a:pt x="103" y="0"/>
                  </a:lnTo>
                  <a:lnTo>
                    <a:pt x="103" y="16"/>
                  </a:lnTo>
                  <a:lnTo>
                    <a:pt x="118" y="24"/>
                  </a:lnTo>
                  <a:lnTo>
                    <a:pt x="118" y="40"/>
                  </a:lnTo>
                  <a:lnTo>
                    <a:pt x="148" y="40"/>
                  </a:lnTo>
                  <a:lnTo>
                    <a:pt x="148" y="56"/>
                  </a:lnTo>
                  <a:lnTo>
                    <a:pt x="170" y="64"/>
                  </a:lnTo>
                  <a:lnTo>
                    <a:pt x="185" y="88"/>
                  </a:lnTo>
                  <a:lnTo>
                    <a:pt x="229" y="104"/>
                  </a:lnTo>
                  <a:lnTo>
                    <a:pt x="229" y="144"/>
                  </a:lnTo>
                  <a:lnTo>
                    <a:pt x="192" y="152"/>
                  </a:lnTo>
                  <a:lnTo>
                    <a:pt x="163" y="152"/>
                  </a:lnTo>
                  <a:lnTo>
                    <a:pt x="177" y="136"/>
                  </a:lnTo>
                  <a:lnTo>
                    <a:pt x="148" y="120"/>
                  </a:lnTo>
                  <a:lnTo>
                    <a:pt x="133" y="136"/>
                  </a:lnTo>
                  <a:lnTo>
                    <a:pt x="140" y="160"/>
                  </a:lnTo>
                  <a:lnTo>
                    <a:pt x="148" y="184"/>
                  </a:lnTo>
                  <a:lnTo>
                    <a:pt x="214" y="192"/>
                  </a:lnTo>
                  <a:lnTo>
                    <a:pt x="192" y="224"/>
                  </a:lnTo>
                  <a:lnTo>
                    <a:pt x="163" y="224"/>
                  </a:lnTo>
                  <a:lnTo>
                    <a:pt x="126" y="288"/>
                  </a:lnTo>
                  <a:lnTo>
                    <a:pt x="126" y="320"/>
                  </a:lnTo>
                </a:path>
              </a:pathLst>
            </a:custGeom>
            <a:solidFill>
              <a:schemeClr val="bg2"/>
            </a:solidFill>
            <a:ln w="12700" cap="rnd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endParaRPr lang="ru-RU"/>
            </a:p>
          </p:txBody>
        </p:sp>
        <p:sp>
          <p:nvSpPr>
            <p:cNvPr id="26" name="Freeform 34"/>
            <p:cNvSpPr>
              <a:spLocks/>
            </p:cNvSpPr>
            <p:nvPr/>
          </p:nvSpPr>
          <p:spPr bwMode="auto">
            <a:xfrm>
              <a:off x="1872895" y="4036560"/>
              <a:ext cx="449749" cy="374142"/>
            </a:xfrm>
            <a:custGeom>
              <a:avLst/>
              <a:gdLst>
                <a:gd name="T0" fmla="*/ 141 w 223"/>
                <a:gd name="T1" fmla="*/ 0 h 193"/>
                <a:gd name="T2" fmla="*/ 59 w 223"/>
                <a:gd name="T3" fmla="*/ 8 h 193"/>
                <a:gd name="T4" fmla="*/ 30 w 223"/>
                <a:gd name="T5" fmla="*/ 24 h 193"/>
                <a:gd name="T6" fmla="*/ 30 w 223"/>
                <a:gd name="T7" fmla="*/ 40 h 193"/>
                <a:gd name="T8" fmla="*/ 0 w 223"/>
                <a:gd name="T9" fmla="*/ 56 h 193"/>
                <a:gd name="T10" fmla="*/ 22 w 223"/>
                <a:gd name="T11" fmla="*/ 80 h 193"/>
                <a:gd name="T12" fmla="*/ 52 w 223"/>
                <a:gd name="T13" fmla="*/ 80 h 193"/>
                <a:gd name="T14" fmla="*/ 59 w 223"/>
                <a:gd name="T15" fmla="*/ 112 h 193"/>
                <a:gd name="T16" fmla="*/ 67 w 223"/>
                <a:gd name="T17" fmla="*/ 136 h 193"/>
                <a:gd name="T18" fmla="*/ 104 w 223"/>
                <a:gd name="T19" fmla="*/ 136 h 193"/>
                <a:gd name="T20" fmla="*/ 133 w 223"/>
                <a:gd name="T21" fmla="*/ 176 h 193"/>
                <a:gd name="T22" fmla="*/ 163 w 223"/>
                <a:gd name="T23" fmla="*/ 192 h 193"/>
                <a:gd name="T24" fmla="*/ 185 w 223"/>
                <a:gd name="T25" fmla="*/ 168 h 193"/>
                <a:gd name="T26" fmla="*/ 178 w 223"/>
                <a:gd name="T27" fmla="*/ 144 h 193"/>
                <a:gd name="T28" fmla="*/ 215 w 223"/>
                <a:gd name="T29" fmla="*/ 144 h 193"/>
                <a:gd name="T30" fmla="*/ 222 w 223"/>
                <a:gd name="T31" fmla="*/ 112 h 193"/>
                <a:gd name="T32" fmla="*/ 215 w 223"/>
                <a:gd name="T33" fmla="*/ 120 h 193"/>
                <a:gd name="T34" fmla="*/ 215 w 223"/>
                <a:gd name="T35" fmla="*/ 72 h 193"/>
                <a:gd name="T36" fmla="*/ 192 w 223"/>
                <a:gd name="T37" fmla="*/ 72 h 193"/>
                <a:gd name="T38" fmla="*/ 185 w 223"/>
                <a:gd name="T39" fmla="*/ 88 h 193"/>
                <a:gd name="T40" fmla="*/ 155 w 223"/>
                <a:gd name="T41" fmla="*/ 56 h 193"/>
                <a:gd name="T42" fmla="*/ 148 w 223"/>
                <a:gd name="T43" fmla="*/ 16 h 193"/>
                <a:gd name="T44" fmla="*/ 141 w 223"/>
                <a:gd name="T45" fmla="*/ 8 h 193"/>
                <a:gd name="T46" fmla="*/ 141 w 223"/>
                <a:gd name="T47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3" h="193">
                  <a:moveTo>
                    <a:pt x="141" y="0"/>
                  </a:moveTo>
                  <a:lnTo>
                    <a:pt x="59" y="8"/>
                  </a:lnTo>
                  <a:lnTo>
                    <a:pt x="30" y="24"/>
                  </a:lnTo>
                  <a:lnTo>
                    <a:pt x="30" y="40"/>
                  </a:lnTo>
                  <a:lnTo>
                    <a:pt x="0" y="56"/>
                  </a:lnTo>
                  <a:lnTo>
                    <a:pt x="22" y="80"/>
                  </a:lnTo>
                  <a:lnTo>
                    <a:pt x="52" y="80"/>
                  </a:lnTo>
                  <a:lnTo>
                    <a:pt x="59" y="112"/>
                  </a:lnTo>
                  <a:lnTo>
                    <a:pt x="67" y="136"/>
                  </a:lnTo>
                  <a:lnTo>
                    <a:pt x="104" y="136"/>
                  </a:lnTo>
                  <a:lnTo>
                    <a:pt x="133" y="176"/>
                  </a:lnTo>
                  <a:lnTo>
                    <a:pt x="163" y="192"/>
                  </a:lnTo>
                  <a:lnTo>
                    <a:pt x="185" y="168"/>
                  </a:lnTo>
                  <a:lnTo>
                    <a:pt x="178" y="144"/>
                  </a:lnTo>
                  <a:lnTo>
                    <a:pt x="215" y="144"/>
                  </a:lnTo>
                  <a:lnTo>
                    <a:pt x="222" y="112"/>
                  </a:lnTo>
                  <a:lnTo>
                    <a:pt x="215" y="120"/>
                  </a:lnTo>
                  <a:lnTo>
                    <a:pt x="215" y="72"/>
                  </a:lnTo>
                  <a:lnTo>
                    <a:pt x="192" y="72"/>
                  </a:lnTo>
                  <a:lnTo>
                    <a:pt x="185" y="88"/>
                  </a:lnTo>
                  <a:lnTo>
                    <a:pt x="155" y="56"/>
                  </a:lnTo>
                  <a:lnTo>
                    <a:pt x="148" y="16"/>
                  </a:lnTo>
                  <a:lnTo>
                    <a:pt x="141" y="8"/>
                  </a:lnTo>
                  <a:lnTo>
                    <a:pt x="141" y="0"/>
                  </a:lnTo>
                </a:path>
              </a:pathLst>
            </a:custGeom>
            <a:solidFill>
              <a:schemeClr val="bg2"/>
            </a:solidFill>
            <a:ln w="12700" cap="rnd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endParaRPr lang="ru-RU"/>
            </a:p>
          </p:txBody>
        </p:sp>
        <p:sp>
          <p:nvSpPr>
            <p:cNvPr id="27" name="Freeform 51"/>
            <p:cNvSpPr>
              <a:spLocks/>
            </p:cNvSpPr>
            <p:nvPr/>
          </p:nvSpPr>
          <p:spPr bwMode="auto">
            <a:xfrm>
              <a:off x="892795" y="4616368"/>
              <a:ext cx="330538" cy="435595"/>
            </a:xfrm>
            <a:custGeom>
              <a:avLst/>
              <a:gdLst>
                <a:gd name="T0" fmla="*/ 74 w 164"/>
                <a:gd name="T1" fmla="*/ 224 h 225"/>
                <a:gd name="T2" fmla="*/ 74 w 164"/>
                <a:gd name="T3" fmla="*/ 200 h 225"/>
                <a:gd name="T4" fmla="*/ 59 w 164"/>
                <a:gd name="T5" fmla="*/ 184 h 225"/>
                <a:gd name="T6" fmla="*/ 22 w 164"/>
                <a:gd name="T7" fmla="*/ 160 h 225"/>
                <a:gd name="T8" fmla="*/ 7 w 164"/>
                <a:gd name="T9" fmla="*/ 152 h 225"/>
                <a:gd name="T10" fmla="*/ 15 w 164"/>
                <a:gd name="T11" fmla="*/ 112 h 225"/>
                <a:gd name="T12" fmla="*/ 0 w 164"/>
                <a:gd name="T13" fmla="*/ 96 h 225"/>
                <a:gd name="T14" fmla="*/ 0 w 164"/>
                <a:gd name="T15" fmla="*/ 72 h 225"/>
                <a:gd name="T16" fmla="*/ 22 w 164"/>
                <a:gd name="T17" fmla="*/ 64 h 225"/>
                <a:gd name="T18" fmla="*/ 7 w 164"/>
                <a:gd name="T19" fmla="*/ 24 h 225"/>
                <a:gd name="T20" fmla="*/ 37 w 164"/>
                <a:gd name="T21" fmla="*/ 0 h 225"/>
                <a:gd name="T22" fmla="*/ 74 w 164"/>
                <a:gd name="T23" fmla="*/ 0 h 225"/>
                <a:gd name="T24" fmla="*/ 89 w 164"/>
                <a:gd name="T25" fmla="*/ 40 h 225"/>
                <a:gd name="T26" fmla="*/ 104 w 164"/>
                <a:gd name="T27" fmla="*/ 48 h 225"/>
                <a:gd name="T28" fmla="*/ 126 w 164"/>
                <a:gd name="T29" fmla="*/ 80 h 225"/>
                <a:gd name="T30" fmla="*/ 148 w 164"/>
                <a:gd name="T31" fmla="*/ 112 h 225"/>
                <a:gd name="T32" fmla="*/ 156 w 164"/>
                <a:gd name="T33" fmla="*/ 136 h 225"/>
                <a:gd name="T34" fmla="*/ 163 w 164"/>
                <a:gd name="T35" fmla="*/ 184 h 225"/>
                <a:gd name="T36" fmla="*/ 126 w 164"/>
                <a:gd name="T37" fmla="*/ 192 h 225"/>
                <a:gd name="T38" fmla="*/ 119 w 164"/>
                <a:gd name="T39" fmla="*/ 216 h 225"/>
                <a:gd name="T40" fmla="*/ 96 w 164"/>
                <a:gd name="T41" fmla="*/ 216 h 225"/>
                <a:gd name="T42" fmla="*/ 74 w 164"/>
                <a:gd name="T43" fmla="*/ 22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4" h="225">
                  <a:moveTo>
                    <a:pt x="74" y="224"/>
                  </a:moveTo>
                  <a:lnTo>
                    <a:pt x="74" y="200"/>
                  </a:lnTo>
                  <a:lnTo>
                    <a:pt x="59" y="184"/>
                  </a:lnTo>
                  <a:lnTo>
                    <a:pt x="22" y="160"/>
                  </a:lnTo>
                  <a:lnTo>
                    <a:pt x="7" y="152"/>
                  </a:lnTo>
                  <a:lnTo>
                    <a:pt x="15" y="112"/>
                  </a:lnTo>
                  <a:lnTo>
                    <a:pt x="0" y="96"/>
                  </a:lnTo>
                  <a:lnTo>
                    <a:pt x="0" y="72"/>
                  </a:lnTo>
                  <a:lnTo>
                    <a:pt x="22" y="64"/>
                  </a:lnTo>
                  <a:lnTo>
                    <a:pt x="7" y="24"/>
                  </a:lnTo>
                  <a:lnTo>
                    <a:pt x="37" y="0"/>
                  </a:lnTo>
                  <a:lnTo>
                    <a:pt x="74" y="0"/>
                  </a:lnTo>
                  <a:lnTo>
                    <a:pt x="89" y="40"/>
                  </a:lnTo>
                  <a:lnTo>
                    <a:pt x="104" y="48"/>
                  </a:lnTo>
                  <a:lnTo>
                    <a:pt x="126" y="80"/>
                  </a:lnTo>
                  <a:lnTo>
                    <a:pt x="148" y="112"/>
                  </a:lnTo>
                  <a:lnTo>
                    <a:pt x="156" y="136"/>
                  </a:lnTo>
                  <a:lnTo>
                    <a:pt x="163" y="184"/>
                  </a:lnTo>
                  <a:lnTo>
                    <a:pt x="126" y="192"/>
                  </a:lnTo>
                  <a:lnTo>
                    <a:pt x="119" y="216"/>
                  </a:lnTo>
                  <a:lnTo>
                    <a:pt x="96" y="216"/>
                  </a:lnTo>
                  <a:lnTo>
                    <a:pt x="74" y="224"/>
                  </a:lnTo>
                </a:path>
              </a:pathLst>
            </a:custGeom>
            <a:solidFill>
              <a:schemeClr val="bg2"/>
            </a:solidFill>
            <a:ln w="12700" cap="rnd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  <a:extLst/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30" name="Заголовок 2"/>
          <p:cNvSpPr txBox="1">
            <a:spLocks/>
          </p:cNvSpPr>
          <p:nvPr/>
        </p:nvSpPr>
        <p:spPr>
          <a:xfrm>
            <a:off x="392736" y="188680"/>
            <a:ext cx="9513275" cy="759493"/>
          </a:xfrm>
          <a:prstGeom prst="rect">
            <a:avLst/>
          </a:prstGeom>
          <a:noFill/>
        </p:spPr>
        <p:txBody>
          <a:bodyPr lIns="87290" tIns="43644" rIns="87290" bIns="43644"/>
          <a:lstStyle>
            <a:lvl1pPr algn="l" defTabSz="955292" rtl="0" eaLnBrk="0" fontAlgn="base" hangingPunct="0">
              <a:spcBef>
                <a:spcPct val="0"/>
              </a:spcBef>
              <a:spcAft>
                <a:spcPct val="0"/>
              </a:spcAft>
              <a:defRPr kumimoji="0" lang="ru-RU" sz="18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  <a:lvl2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2pPr>
            <a:lvl3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3pPr>
            <a:lvl4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4pPr>
            <a:lvl5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5pPr>
            <a:lvl6pPr marL="436016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6pPr>
            <a:lvl7pPr marL="872029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7pPr>
            <a:lvl8pPr marL="1308043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8pPr>
            <a:lvl9pPr marL="1744064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ru-RU" dirty="0" smtClean="0"/>
              <a:t>РЕАЛИСТИЧНЫЕ ИНВЕСТИЦИОННЫЕ </a:t>
            </a:r>
            <a:r>
              <a:rPr lang="ru-RU" dirty="0"/>
              <a:t>ПРОЕКТЫ РФ И </a:t>
            </a:r>
            <a:r>
              <a:rPr lang="ru-RU" dirty="0" smtClean="0"/>
              <a:t>КАЗАХСТАНА </a:t>
            </a:r>
          </a:p>
          <a:p>
            <a:r>
              <a:rPr lang="ru-RU" dirty="0" smtClean="0"/>
              <a:t>УВЕЛИЧАТ МОЩНОСТИ ПИРОЛИЗА НА </a:t>
            </a:r>
            <a:r>
              <a:rPr lang="en-US" dirty="0" smtClean="0"/>
              <a:t>2,9 </a:t>
            </a:r>
            <a:r>
              <a:rPr lang="ru-RU" dirty="0" smtClean="0"/>
              <a:t>МЛН Т, МОЩНОСТИ ПО ПОЛИОЛЕФИНАМ НА 3,4 МЛН Т </a:t>
            </a:r>
            <a:endParaRPr lang="ru-RU" dirty="0">
              <a:solidFill>
                <a:srgbClr val="008080"/>
              </a:solidFill>
            </a:endParaRPr>
          </a:p>
        </p:txBody>
      </p:sp>
      <p:sp>
        <p:nvSpPr>
          <p:cNvPr id="37" name="Прямоугольная выноска 36"/>
          <p:cNvSpPr/>
          <p:nvPr/>
        </p:nvSpPr>
        <p:spPr bwMode="auto">
          <a:xfrm>
            <a:off x="5248284" y="2469988"/>
            <a:ext cx="4471329" cy="561335"/>
          </a:xfrm>
          <a:prstGeom prst="wedgeRectCallout">
            <a:avLst>
              <a:gd name="adj1" fmla="val -107432"/>
              <a:gd name="adj2" fmla="val 183042"/>
            </a:avLst>
          </a:prstGeom>
          <a:solidFill>
            <a:srgbClr val="E4E4E4">
              <a:alpha val="85098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6" tIns="45714" rIns="91426" bIns="45714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</a:pPr>
            <a:endParaRPr lang="ru-RU">
              <a:latin typeface="Arial" pitchFamily="34" charset="0"/>
            </a:endParaRPr>
          </a:p>
        </p:txBody>
      </p:sp>
      <p:sp>
        <p:nvSpPr>
          <p:cNvPr id="38" name="Прямоугольная выноска 37"/>
          <p:cNvSpPr/>
          <p:nvPr/>
        </p:nvSpPr>
        <p:spPr bwMode="auto">
          <a:xfrm>
            <a:off x="257304" y="1484842"/>
            <a:ext cx="4490043" cy="860356"/>
          </a:xfrm>
          <a:prstGeom prst="wedgeRectCallout">
            <a:avLst>
              <a:gd name="adj1" fmla="val -950"/>
              <a:gd name="adj2" fmla="val 189990"/>
            </a:avLst>
          </a:prstGeom>
          <a:solidFill>
            <a:srgbClr val="E4E4E4">
              <a:alpha val="85098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6" tIns="45714" rIns="91426" bIns="45714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</a:pPr>
            <a:endParaRPr lang="ru-RU">
              <a:latin typeface="Arial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248257" y="2597287"/>
            <a:ext cx="4471335" cy="369320"/>
          </a:xfrm>
          <a:prstGeom prst="rect">
            <a:avLst/>
          </a:prstGeom>
          <a:noFill/>
          <a:ln>
            <a:noFill/>
          </a:ln>
        </p:spPr>
        <p:txBody>
          <a:bodyPr wrap="square" lIns="91426" tIns="45714" rIns="0" bIns="45714" rtlCol="0">
            <a:spAutoFit/>
          </a:bodyPr>
          <a:lstStyle/>
          <a:p>
            <a:pPr marL="87300" indent="-8730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900" b="1" dirty="0" smtClean="0">
                <a:solidFill>
                  <a:srgbClr val="000000"/>
                </a:solidFill>
              </a:rPr>
              <a:t>Участники </a:t>
            </a:r>
            <a:r>
              <a:rPr lang="ru-RU" sz="900" b="1" dirty="0">
                <a:solidFill>
                  <a:srgbClr val="000000"/>
                </a:solidFill>
              </a:rPr>
              <a:t>проекта: </a:t>
            </a:r>
            <a:r>
              <a:rPr lang="ru-RU" sz="900" dirty="0">
                <a:solidFill>
                  <a:srgbClr val="000000"/>
                </a:solidFill>
              </a:rPr>
              <a:t>Газпром (Газпром </a:t>
            </a:r>
            <a:r>
              <a:rPr lang="ru-RU" sz="900" dirty="0" err="1">
                <a:solidFill>
                  <a:srgbClr val="000000"/>
                </a:solidFill>
              </a:rPr>
              <a:t>Нефтехим</a:t>
            </a:r>
            <a:r>
              <a:rPr lang="ru-RU" sz="900" dirty="0">
                <a:solidFill>
                  <a:srgbClr val="000000"/>
                </a:solidFill>
              </a:rPr>
              <a:t> Салават)</a:t>
            </a:r>
          </a:p>
          <a:p>
            <a:pPr marL="87300" indent="-8730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900" b="1" dirty="0">
                <a:solidFill>
                  <a:srgbClr val="000000"/>
                </a:solidFill>
              </a:rPr>
              <a:t>География: </a:t>
            </a:r>
            <a:r>
              <a:rPr lang="ru-RU" sz="900" dirty="0">
                <a:solidFill>
                  <a:srgbClr val="000000"/>
                </a:solidFill>
              </a:rPr>
              <a:t>на базе существующей площадки ГПНС (Башкортостан</a:t>
            </a:r>
            <a:r>
              <a:rPr lang="ru-RU" sz="900" dirty="0" smtClean="0">
                <a:solidFill>
                  <a:srgbClr val="000000"/>
                </a:solidFill>
              </a:rPr>
              <a:t>)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40" name="TextBox 50"/>
          <p:cNvSpPr txBox="1">
            <a:spLocks noChangeArrowheads="1"/>
          </p:cNvSpPr>
          <p:nvPr/>
        </p:nvSpPr>
        <p:spPr bwMode="auto">
          <a:xfrm>
            <a:off x="5248284" y="2329513"/>
            <a:ext cx="4471329" cy="28886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 smtClean="0">
                <a:solidFill>
                  <a:schemeClr val="bg1"/>
                </a:solidFill>
              </a:rPr>
              <a:t>ГАЗПРОМ НЕФТЕХИМ САЛАВАТ (РФ) – ПЕРЕРАБОТКА ОЛЕФИНОВ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68707" y="1484840"/>
            <a:ext cx="4479106" cy="1051558"/>
          </a:xfrm>
          <a:prstGeom prst="rect">
            <a:avLst/>
          </a:prstGeom>
          <a:noFill/>
          <a:ln>
            <a:noFill/>
          </a:ln>
        </p:spPr>
        <p:txBody>
          <a:bodyPr wrap="square" lIns="91426" tIns="45714" rIns="91426" bIns="45714" rtlCol="0">
            <a:spAutoFit/>
          </a:bodyPr>
          <a:lstStyle/>
          <a:p>
            <a:pPr marL="171424" indent="-171424" fontAlgn="base">
              <a:spcBef>
                <a:spcPct val="0"/>
              </a:spcBef>
              <a:spcAft>
                <a:spcPts val="200"/>
              </a:spcAft>
              <a:buFont typeface="Arial" pitchFamily="34" charset="0"/>
              <a:buChar char="•"/>
            </a:pPr>
            <a:r>
              <a:rPr lang="ru-RU" sz="900" b="1" dirty="0">
                <a:solidFill>
                  <a:srgbClr val="000000"/>
                </a:solidFill>
              </a:rPr>
              <a:t>Планируемый ввод в эксплуатацию:</a:t>
            </a:r>
            <a:r>
              <a:rPr lang="ru-RU" sz="900" dirty="0">
                <a:solidFill>
                  <a:srgbClr val="000000"/>
                </a:solidFill>
              </a:rPr>
              <a:t> </a:t>
            </a:r>
            <a:r>
              <a:rPr lang="ru-RU" sz="900" dirty="0" smtClean="0"/>
              <a:t>2019</a:t>
            </a:r>
            <a:endParaRPr lang="ru-RU" sz="900" dirty="0"/>
          </a:p>
          <a:p>
            <a:pPr marL="171424" indent="-171424" fontAlgn="base">
              <a:spcBef>
                <a:spcPct val="0"/>
              </a:spcBef>
              <a:spcAft>
                <a:spcPts val="200"/>
              </a:spcAft>
              <a:buFont typeface="Arial" pitchFamily="34" charset="0"/>
              <a:buChar char="•"/>
            </a:pPr>
            <a:r>
              <a:rPr lang="ru-RU" sz="900" b="1" dirty="0">
                <a:solidFill>
                  <a:srgbClr val="000000"/>
                </a:solidFill>
              </a:rPr>
              <a:t>Участники проекта: </a:t>
            </a:r>
            <a:r>
              <a:rPr lang="ru-RU" sz="900" dirty="0">
                <a:solidFill>
                  <a:srgbClr val="000000"/>
                </a:solidFill>
              </a:rPr>
              <a:t>группа ТАИФ (ОАО «Нижнекамскнефтехим)</a:t>
            </a:r>
          </a:p>
          <a:p>
            <a:pPr marL="171424" indent="-171424" fontAlgn="base">
              <a:spcBef>
                <a:spcPct val="0"/>
              </a:spcBef>
              <a:spcAft>
                <a:spcPts val="200"/>
              </a:spcAft>
              <a:buFont typeface="Arial" pitchFamily="34" charset="0"/>
              <a:buChar char="•"/>
            </a:pPr>
            <a:r>
              <a:rPr lang="ru-RU" sz="900" b="1" dirty="0">
                <a:solidFill>
                  <a:srgbClr val="000000"/>
                </a:solidFill>
              </a:rPr>
              <a:t>География</a:t>
            </a:r>
            <a:r>
              <a:rPr lang="ru-RU" sz="900" dirty="0">
                <a:solidFill>
                  <a:srgbClr val="000000"/>
                </a:solidFill>
              </a:rPr>
              <a:t>: Республика Татарстан</a:t>
            </a:r>
          </a:p>
          <a:p>
            <a:pPr marL="171424" indent="-171424" fontAlgn="base">
              <a:spcBef>
                <a:spcPct val="0"/>
              </a:spcBef>
              <a:spcAft>
                <a:spcPts val="200"/>
              </a:spcAft>
              <a:buFont typeface="Arial" pitchFamily="34" charset="0"/>
              <a:buChar char="•"/>
            </a:pPr>
            <a:r>
              <a:rPr lang="ru-RU" sz="900" b="1" dirty="0">
                <a:solidFill>
                  <a:srgbClr val="000000"/>
                </a:solidFill>
              </a:rPr>
              <a:t>Размер инвестиций:</a:t>
            </a:r>
            <a:r>
              <a:rPr lang="ru-RU" sz="900" dirty="0">
                <a:solidFill>
                  <a:srgbClr val="000000"/>
                </a:solidFill>
              </a:rPr>
              <a:t> </a:t>
            </a:r>
            <a:r>
              <a:rPr lang="en-US" sz="900" dirty="0" smtClean="0">
                <a:solidFill>
                  <a:srgbClr val="000000"/>
                </a:solidFill>
              </a:rPr>
              <a:t>≈ </a:t>
            </a:r>
            <a:r>
              <a:rPr lang="ru-RU" sz="900" dirty="0" smtClean="0"/>
              <a:t>$3 </a:t>
            </a:r>
            <a:r>
              <a:rPr lang="ru-RU" sz="900" dirty="0"/>
              <a:t>млрд (84 млрд руб.)</a:t>
            </a:r>
          </a:p>
          <a:p>
            <a:pPr marL="171424" indent="-171424" fontAlgn="base">
              <a:spcBef>
                <a:spcPct val="0"/>
              </a:spcBef>
              <a:spcAft>
                <a:spcPts val="200"/>
              </a:spcAft>
              <a:buFont typeface="Arial" pitchFamily="34" charset="0"/>
              <a:buChar char="•"/>
            </a:pPr>
            <a:r>
              <a:rPr lang="ru-RU" sz="900" b="1" dirty="0">
                <a:solidFill>
                  <a:srgbClr val="000000"/>
                </a:solidFill>
              </a:rPr>
              <a:t>Сырье: </a:t>
            </a:r>
            <a:r>
              <a:rPr lang="ru-RU" sz="900" dirty="0" smtClean="0">
                <a:solidFill>
                  <a:srgbClr val="000000"/>
                </a:solidFill>
              </a:rPr>
              <a:t>нефтеперерабатывающие заводы Татарстана</a:t>
            </a:r>
          </a:p>
          <a:p>
            <a:pPr fontAlgn="base">
              <a:spcBef>
                <a:spcPct val="0"/>
              </a:spcBef>
              <a:spcAft>
                <a:spcPts val="200"/>
              </a:spcAft>
            </a:pPr>
            <a:r>
              <a:rPr lang="ru-RU" sz="900" dirty="0" smtClean="0">
                <a:solidFill>
                  <a:srgbClr val="000000"/>
                </a:solidFill>
              </a:rPr>
              <a:t>.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42" name="TextBox 50"/>
          <p:cNvSpPr txBox="1">
            <a:spLocks noChangeArrowheads="1"/>
          </p:cNvSpPr>
          <p:nvPr/>
        </p:nvSpPr>
        <p:spPr bwMode="auto">
          <a:xfrm>
            <a:off x="257284" y="1228552"/>
            <a:ext cx="4498892" cy="2880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 smtClean="0">
                <a:solidFill>
                  <a:schemeClr val="bg1"/>
                </a:solidFill>
              </a:rPr>
              <a:t>ТАИФ: ОЛЕФИНОВЫЙ КОМПЛЕКС НА НИЖНЕКАМСКНЕФТЕХИМ (РФ)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44" name="Прямоугольная выноска 43"/>
          <p:cNvSpPr/>
          <p:nvPr/>
        </p:nvSpPr>
        <p:spPr bwMode="auto">
          <a:xfrm>
            <a:off x="280495" y="5229168"/>
            <a:ext cx="4299920" cy="987538"/>
          </a:xfrm>
          <a:prstGeom prst="wedgeRectCallout">
            <a:avLst>
              <a:gd name="adj1" fmla="val -23984"/>
              <a:gd name="adj2" fmla="val -158756"/>
            </a:avLst>
          </a:prstGeom>
          <a:solidFill>
            <a:srgbClr val="E4E4E4">
              <a:alpha val="85098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6" tIns="45714" rIns="91426" bIns="45714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</a:pPr>
            <a:endParaRPr lang="ru-RU">
              <a:latin typeface="Arial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50311" y="5205306"/>
            <a:ext cx="4340340" cy="1011400"/>
          </a:xfrm>
          <a:prstGeom prst="rect">
            <a:avLst/>
          </a:prstGeom>
          <a:noFill/>
          <a:ln>
            <a:noFill/>
          </a:ln>
        </p:spPr>
        <p:txBody>
          <a:bodyPr wrap="square" lIns="91426" tIns="45714" rIns="91426" bIns="0" rtlCol="0">
            <a:noAutofit/>
          </a:bodyPr>
          <a:lstStyle/>
          <a:p>
            <a:pPr marL="171424" indent="-171424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Планируемый ввод в эксплуатацию:</a:t>
            </a:r>
            <a:r>
              <a:rPr lang="ru-RU" sz="1000" dirty="0">
                <a:solidFill>
                  <a:srgbClr val="000000"/>
                </a:solidFill>
              </a:rPr>
              <a:t> </a:t>
            </a:r>
            <a:r>
              <a:rPr lang="ru-RU" sz="1000" dirty="0" smtClean="0"/>
              <a:t>2021</a:t>
            </a:r>
            <a:endParaRPr lang="ru-RU" sz="1000" dirty="0"/>
          </a:p>
          <a:p>
            <a:pPr marL="171424" indent="-171424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Участники проекта: </a:t>
            </a:r>
            <a:r>
              <a:rPr lang="ru-RU" sz="1000" dirty="0">
                <a:solidFill>
                  <a:srgbClr val="000000"/>
                </a:solidFill>
              </a:rPr>
              <a:t>ОАО «Лукойл»</a:t>
            </a:r>
          </a:p>
          <a:p>
            <a:pPr marL="171424" indent="-171424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География</a:t>
            </a:r>
            <a:r>
              <a:rPr lang="ru-RU" sz="1000" dirty="0">
                <a:solidFill>
                  <a:srgbClr val="000000"/>
                </a:solidFill>
              </a:rPr>
              <a:t>: Ставропольский край, РФ (на базе площадки </a:t>
            </a:r>
            <a:r>
              <a:rPr lang="ru-RU" sz="1000" dirty="0" err="1">
                <a:solidFill>
                  <a:srgbClr val="000000"/>
                </a:solidFill>
              </a:rPr>
              <a:t>Ставролен</a:t>
            </a:r>
            <a:r>
              <a:rPr lang="ru-RU" sz="1000" dirty="0">
                <a:solidFill>
                  <a:srgbClr val="000000"/>
                </a:solidFill>
              </a:rPr>
              <a:t>)</a:t>
            </a:r>
          </a:p>
          <a:p>
            <a:pPr marL="171424" indent="-171424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Размер инвестиций:</a:t>
            </a:r>
            <a:r>
              <a:rPr lang="ru-RU" sz="1000" dirty="0">
                <a:solidFill>
                  <a:srgbClr val="000000"/>
                </a:solidFill>
              </a:rPr>
              <a:t> </a:t>
            </a:r>
            <a:r>
              <a:rPr lang="ru-RU" sz="1000" dirty="0"/>
              <a:t>всего на ГХК 140 млрд руб.</a:t>
            </a:r>
          </a:p>
          <a:p>
            <a:pPr marL="171424" indent="-171424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Сырье: </a:t>
            </a:r>
            <a:r>
              <a:rPr lang="ru-RU" sz="1000" dirty="0">
                <a:solidFill>
                  <a:srgbClr val="000000"/>
                </a:solidFill>
              </a:rPr>
              <a:t>Газ с месторождений Северного Каспия (Лукойл</a:t>
            </a:r>
            <a:r>
              <a:rPr lang="ru-RU" sz="1000" dirty="0" smtClean="0">
                <a:solidFill>
                  <a:srgbClr val="000000"/>
                </a:solidFill>
              </a:rPr>
              <a:t>)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46" name="TextBox 50"/>
          <p:cNvSpPr txBox="1">
            <a:spLocks noChangeArrowheads="1"/>
          </p:cNvSpPr>
          <p:nvPr/>
        </p:nvSpPr>
        <p:spPr bwMode="auto">
          <a:xfrm>
            <a:off x="280495" y="4941168"/>
            <a:ext cx="4299920" cy="28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 smtClean="0">
                <a:solidFill>
                  <a:schemeClr val="bg1"/>
                </a:solidFill>
              </a:rPr>
              <a:t>ЛУКОЙЛ (РФ): ПЕРЕРАБОТКА ГАЗА М/Р СЕВЕРНОГО КАСПИЯ 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28" name="Прямоугольная выноска 27"/>
          <p:cNvSpPr/>
          <p:nvPr/>
        </p:nvSpPr>
        <p:spPr bwMode="auto">
          <a:xfrm>
            <a:off x="5494703" y="3991555"/>
            <a:ext cx="4224912" cy="1957731"/>
          </a:xfrm>
          <a:prstGeom prst="wedgeRectCallout">
            <a:avLst>
              <a:gd name="adj1" fmla="val -134466"/>
              <a:gd name="adj2" fmla="val -34075"/>
            </a:avLst>
          </a:prstGeom>
          <a:solidFill>
            <a:srgbClr val="E4E4E4">
              <a:alpha val="85098"/>
            </a:srgb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26" tIns="45714" rIns="91426" bIns="45714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10000"/>
              </a:spcBef>
              <a:spcAft>
                <a:spcPct val="0"/>
              </a:spcAft>
            </a:pPr>
            <a:endParaRPr lang="ru-RU">
              <a:latin typeface="Arial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463343" y="4246855"/>
            <a:ext cx="4256267" cy="1887684"/>
          </a:xfrm>
          <a:prstGeom prst="rect">
            <a:avLst/>
          </a:prstGeom>
          <a:noFill/>
        </p:spPr>
        <p:txBody>
          <a:bodyPr wrap="square" lIns="91426" tIns="45714" rIns="91426" bIns="45714" rtlCol="0">
            <a:spAutoFit/>
          </a:bodyPr>
          <a:lstStyle/>
          <a:p>
            <a:pPr marL="171424" indent="-171424" fontAlgn="base">
              <a:spcBef>
                <a:spcPct val="0"/>
              </a:spcBef>
              <a:spcAft>
                <a:spcPts val="200"/>
              </a:spcAft>
              <a:buFont typeface="Arial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Планируемый ввод в эксплуатацию:</a:t>
            </a:r>
            <a:r>
              <a:rPr lang="ru-RU" sz="1000" dirty="0">
                <a:solidFill>
                  <a:srgbClr val="000000"/>
                </a:solidFill>
              </a:rPr>
              <a:t> </a:t>
            </a:r>
            <a:r>
              <a:rPr lang="ru-RU" sz="1000" dirty="0" smtClean="0"/>
              <a:t>2019 </a:t>
            </a:r>
            <a:endParaRPr lang="ru-RU" sz="1000" dirty="0"/>
          </a:p>
          <a:p>
            <a:pPr marL="171424" indent="-171424" fontAlgn="base">
              <a:spcBef>
                <a:spcPct val="0"/>
              </a:spcBef>
              <a:spcAft>
                <a:spcPts val="200"/>
              </a:spcAft>
              <a:buFont typeface="Arial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Участники проекта: </a:t>
            </a:r>
            <a:r>
              <a:rPr lang="ru-RU" sz="1000" dirty="0"/>
              <a:t>дочерняя компания южнокорейской корпорации LG </a:t>
            </a:r>
            <a:r>
              <a:rPr lang="ru-RU" sz="1000" dirty="0" err="1"/>
              <a:t>Group</a:t>
            </a:r>
            <a:r>
              <a:rPr lang="ru-RU" sz="1000" dirty="0"/>
              <a:t> LG </a:t>
            </a:r>
            <a:r>
              <a:rPr lang="ru-RU" sz="1000" dirty="0" err="1"/>
              <a:t>Chem</a:t>
            </a:r>
            <a:r>
              <a:rPr lang="ru-RU" sz="1000" dirty="0"/>
              <a:t> </a:t>
            </a:r>
            <a:r>
              <a:rPr lang="ru-RU" sz="1000" dirty="0" err="1"/>
              <a:t>Ltd</a:t>
            </a:r>
            <a:r>
              <a:rPr lang="ru-RU" sz="1000" dirty="0"/>
              <a:t>. (50%), АО «</a:t>
            </a:r>
            <a:r>
              <a:rPr lang="ru-RU" sz="1000" dirty="0" err="1"/>
              <a:t>SAT&amp;Company</a:t>
            </a:r>
            <a:r>
              <a:rPr lang="ru-RU" sz="1000" dirty="0"/>
              <a:t>» (25%) и ТОО «Объединенная химическая компания» (учредитель АО «Фонд национального благосостояния “</a:t>
            </a:r>
            <a:r>
              <a:rPr lang="ru-RU" sz="1000" dirty="0" err="1"/>
              <a:t>Самрук-Казына</a:t>
            </a:r>
            <a:r>
              <a:rPr lang="ru-RU" sz="1000" dirty="0"/>
              <a:t>”», (25%)</a:t>
            </a:r>
            <a:endParaRPr lang="ru-RU" sz="1000" dirty="0">
              <a:solidFill>
                <a:srgbClr val="FF0000"/>
              </a:solidFill>
            </a:endParaRPr>
          </a:p>
          <a:p>
            <a:pPr marL="171424" indent="-171424" fontAlgn="base">
              <a:spcBef>
                <a:spcPct val="0"/>
              </a:spcBef>
              <a:spcAft>
                <a:spcPts val="200"/>
              </a:spcAft>
              <a:buFont typeface="Arial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География</a:t>
            </a:r>
            <a:r>
              <a:rPr lang="ru-RU" sz="1000" dirty="0">
                <a:solidFill>
                  <a:srgbClr val="000000"/>
                </a:solidFill>
              </a:rPr>
              <a:t>: ст. </a:t>
            </a:r>
            <a:r>
              <a:rPr lang="ru-RU" sz="1000" dirty="0" err="1">
                <a:solidFill>
                  <a:srgbClr val="000000"/>
                </a:solidFill>
              </a:rPr>
              <a:t>Карабатан</a:t>
            </a:r>
            <a:r>
              <a:rPr lang="ru-RU" sz="1000" dirty="0">
                <a:solidFill>
                  <a:srgbClr val="000000"/>
                </a:solidFill>
              </a:rPr>
              <a:t> (40 км от Атырау), Казахстан</a:t>
            </a:r>
          </a:p>
          <a:p>
            <a:pPr marL="171424" indent="-171424" fontAlgn="base">
              <a:spcBef>
                <a:spcPct val="0"/>
              </a:spcBef>
              <a:spcAft>
                <a:spcPts val="200"/>
              </a:spcAft>
              <a:buFont typeface="Arial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Размер инвестиций:</a:t>
            </a:r>
            <a:r>
              <a:rPr lang="ru-RU" sz="1000" dirty="0">
                <a:solidFill>
                  <a:srgbClr val="000000"/>
                </a:solidFill>
              </a:rPr>
              <a:t> </a:t>
            </a:r>
            <a:r>
              <a:rPr lang="en-US" sz="1000" dirty="0">
                <a:solidFill>
                  <a:srgbClr val="000000"/>
                </a:solidFill>
              </a:rPr>
              <a:t>≈ </a:t>
            </a:r>
            <a:r>
              <a:rPr lang="ru-RU" sz="1000" dirty="0" smtClean="0"/>
              <a:t>$</a:t>
            </a:r>
            <a:r>
              <a:rPr lang="en-US" sz="1000" dirty="0" smtClean="0"/>
              <a:t>7</a:t>
            </a:r>
            <a:r>
              <a:rPr lang="ru-RU" sz="1000" dirty="0" smtClean="0"/>
              <a:t> </a:t>
            </a:r>
            <a:r>
              <a:rPr lang="ru-RU" sz="1000" dirty="0"/>
              <a:t>млрд </a:t>
            </a:r>
            <a:endParaRPr lang="ru-RU" sz="1000" dirty="0">
              <a:solidFill>
                <a:srgbClr val="FF0000"/>
              </a:solidFill>
            </a:endParaRPr>
          </a:p>
          <a:p>
            <a:pPr marL="171424" indent="-171424" fontAlgn="base">
              <a:spcBef>
                <a:spcPct val="0"/>
              </a:spcBef>
              <a:spcAft>
                <a:spcPts val="200"/>
              </a:spcAft>
              <a:buFont typeface="Arial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Сырьевое обеспечение</a:t>
            </a:r>
            <a:r>
              <a:rPr lang="ru-RU" sz="1000" b="1" dirty="0" smtClean="0">
                <a:solidFill>
                  <a:srgbClr val="000000"/>
                </a:solidFill>
              </a:rPr>
              <a:t>:</a:t>
            </a:r>
            <a:r>
              <a:rPr lang="ru-RU" sz="1000" dirty="0"/>
              <a:t> </a:t>
            </a:r>
            <a:r>
              <a:rPr lang="ru-RU" sz="1000" dirty="0" smtClean="0"/>
              <a:t>попутный газ </a:t>
            </a:r>
            <a:r>
              <a:rPr lang="ru-RU" sz="1000" dirty="0" err="1"/>
              <a:t>Тенгизского</a:t>
            </a:r>
            <a:r>
              <a:rPr lang="ru-RU" sz="1000" dirty="0"/>
              <a:t> месторождения</a:t>
            </a:r>
            <a:br>
              <a:rPr lang="ru-RU" sz="1000" dirty="0"/>
            </a:b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32" name="TextBox 50"/>
          <p:cNvSpPr txBox="1">
            <a:spLocks noChangeArrowheads="1"/>
          </p:cNvSpPr>
          <p:nvPr/>
        </p:nvSpPr>
        <p:spPr bwMode="auto">
          <a:xfrm>
            <a:off x="5496404" y="3991517"/>
            <a:ext cx="4223206" cy="2880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chemeClr val="bg1"/>
                </a:solidFill>
              </a:rPr>
              <a:t>АТЫРАУСКИЙ ГХК (СНГ)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502150" y="4664207"/>
            <a:ext cx="110626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smtClean="0"/>
              <a:t>КАЗАХСТАН</a:t>
            </a:r>
            <a:endParaRPr lang="ru-RU" sz="1200" b="1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227081" y="3127214"/>
            <a:ext cx="107959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smtClean="0"/>
              <a:t>ТАТАРСТАН</a:t>
            </a:r>
            <a:endParaRPr lang="ru-RU" sz="1200" b="1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3930475" y="3426701"/>
            <a:ext cx="149310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smtClean="0"/>
              <a:t>БАШКОРТОСТАН</a:t>
            </a:r>
            <a:endParaRPr lang="ru-RU" sz="1200" b="1" dirty="0"/>
          </a:p>
        </p:txBody>
      </p:sp>
      <p:cxnSp>
        <p:nvCxnSpPr>
          <p:cNvPr id="5" name="Прямая соединительная линия 4"/>
          <p:cNvCxnSpPr/>
          <p:nvPr/>
        </p:nvCxnSpPr>
        <p:spPr bwMode="auto">
          <a:xfrm>
            <a:off x="3930473" y="3716338"/>
            <a:ext cx="149310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Прямая соединительная линия 6"/>
          <p:cNvCxnSpPr>
            <a:endCxn id="25" idx="35"/>
          </p:cNvCxnSpPr>
          <p:nvPr/>
        </p:nvCxnSpPr>
        <p:spPr bwMode="auto">
          <a:xfrm flipH="1">
            <a:off x="2774226" y="3716338"/>
            <a:ext cx="1156247" cy="20125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>
            <a:endCxn id="26" idx="6"/>
          </p:cNvCxnSpPr>
          <p:nvPr/>
        </p:nvCxnSpPr>
        <p:spPr bwMode="auto">
          <a:xfrm>
            <a:off x="1306668" y="3369553"/>
            <a:ext cx="1019750" cy="21707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Прямая соединительная линия 46"/>
          <p:cNvCxnSpPr/>
          <p:nvPr/>
        </p:nvCxnSpPr>
        <p:spPr bwMode="auto">
          <a:xfrm flipV="1">
            <a:off x="257304" y="3369586"/>
            <a:ext cx="1049385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8" name="Прямоугольник 47"/>
          <p:cNvSpPr/>
          <p:nvPr/>
        </p:nvSpPr>
        <p:spPr>
          <a:xfrm>
            <a:off x="-59217" y="4224637"/>
            <a:ext cx="13658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smtClean="0"/>
              <a:t>СТАВРОПОЛЬЕ</a:t>
            </a:r>
            <a:endParaRPr lang="ru-RU" sz="1200" b="1" dirty="0"/>
          </a:p>
        </p:txBody>
      </p:sp>
      <p:cxnSp>
        <p:nvCxnSpPr>
          <p:cNvPr id="50" name="Прямая соединительная линия 49"/>
          <p:cNvCxnSpPr/>
          <p:nvPr/>
        </p:nvCxnSpPr>
        <p:spPr bwMode="auto">
          <a:xfrm>
            <a:off x="33663" y="4446317"/>
            <a:ext cx="120404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2" name="Прямая соединительная линия 51"/>
          <p:cNvCxnSpPr>
            <a:endCxn id="27" idx="2"/>
          </p:cNvCxnSpPr>
          <p:nvPr/>
        </p:nvCxnSpPr>
        <p:spPr bwMode="auto">
          <a:xfrm flipV="1">
            <a:off x="1237710" y="4256914"/>
            <a:ext cx="42812" cy="18944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TextBox 48"/>
          <p:cNvSpPr txBox="1"/>
          <p:nvPr/>
        </p:nvSpPr>
        <p:spPr>
          <a:xfrm>
            <a:off x="1356792" y="6481911"/>
            <a:ext cx="6234675" cy="230820"/>
          </a:xfrm>
          <a:prstGeom prst="rect">
            <a:avLst/>
          </a:prstGeom>
          <a:noFill/>
        </p:spPr>
        <p:txBody>
          <a:bodyPr wrap="square" lIns="91426" tIns="45714" rIns="91426" bIns="45714" rtlCol="0">
            <a:spAutoFit/>
          </a:bodyPr>
          <a:lstStyle/>
          <a:p>
            <a:r>
              <a:rPr lang="ru-RU" sz="900" i="1" dirty="0">
                <a:solidFill>
                  <a:srgbClr val="000000"/>
                </a:solidFill>
              </a:rPr>
              <a:t>Источник: </a:t>
            </a:r>
            <a:r>
              <a:rPr lang="ru-RU" sz="900" dirty="0" smtClean="0">
                <a:solidFill>
                  <a:srgbClr val="000000"/>
                </a:solidFill>
              </a:rPr>
              <a:t>данные компаний, отраслевые СМИ, открытые источники </a:t>
            </a:r>
            <a:endParaRPr lang="ru-RU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270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Объект 6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98304211"/>
              </p:ext>
            </p:extLst>
          </p:nvPr>
        </p:nvGraphicFramePr>
        <p:xfrm>
          <a:off x="1776" y="1649"/>
          <a:ext cx="171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76" y="1649"/>
                        <a:ext cx="171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7"/>
          <p:cNvSpPr>
            <a:spLocks noChangeArrowheads="1"/>
          </p:cNvSpPr>
          <p:nvPr/>
        </p:nvSpPr>
        <p:spPr bwMode="auto">
          <a:xfrm>
            <a:off x="4269906" y="1451062"/>
            <a:ext cx="1683587" cy="364484"/>
          </a:xfrm>
          <a:prstGeom prst="rect">
            <a:avLst/>
          </a:prstGeom>
          <a:solidFill>
            <a:srgbClr val="008C7F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lIns="91426" tIns="45714" rIns="91426" bIns="45714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8" name="Прямоугольник 40"/>
          <p:cNvSpPr>
            <a:spLocks noChangeArrowheads="1"/>
          </p:cNvSpPr>
          <p:nvPr/>
        </p:nvSpPr>
        <p:spPr bwMode="auto">
          <a:xfrm>
            <a:off x="4902762" y="2070233"/>
            <a:ext cx="1050735" cy="449848"/>
          </a:xfrm>
          <a:prstGeom prst="rect">
            <a:avLst/>
          </a:prstGeom>
          <a:solidFill>
            <a:srgbClr val="FF0000"/>
          </a:solidFill>
          <a:ln w="9525" algn="ctr">
            <a:solidFill>
              <a:srgbClr val="008C7F"/>
            </a:solidFill>
            <a:round/>
            <a:headEnd/>
            <a:tailEnd/>
          </a:ln>
        </p:spPr>
        <p:txBody>
          <a:bodyPr lIns="91426" tIns="45714" rIns="91426" bIns="45714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 sz="1000">
              <a:solidFill>
                <a:srgbClr val="000000"/>
              </a:solidFill>
              <a:latin typeface="Arial Unicode MS" pitchFamily="34" charset="-128"/>
            </a:endParaRPr>
          </a:p>
        </p:txBody>
      </p:sp>
      <p:sp>
        <p:nvSpPr>
          <p:cNvPr id="9" name="Прямоугольник 11"/>
          <p:cNvSpPr>
            <a:spLocks noChangeArrowheads="1"/>
          </p:cNvSpPr>
          <p:nvPr/>
        </p:nvSpPr>
        <p:spPr bwMode="auto">
          <a:xfrm>
            <a:off x="4566416" y="4761250"/>
            <a:ext cx="133540" cy="244837"/>
          </a:xfrm>
          <a:prstGeom prst="rect">
            <a:avLst/>
          </a:prstGeom>
          <a:solidFill>
            <a:srgbClr val="92D050"/>
          </a:solidFill>
          <a:ln w="9525" algn="ctr">
            <a:solidFill>
              <a:srgbClr val="008C7F"/>
            </a:solidFill>
            <a:round/>
            <a:headEnd/>
            <a:tailEnd/>
          </a:ln>
        </p:spPr>
        <p:txBody>
          <a:bodyPr lIns="91426" tIns="45714" rIns="91426" bIns="45714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 sz="1000">
              <a:solidFill>
                <a:srgbClr val="000000"/>
              </a:solidFill>
              <a:latin typeface="Arial Unicode MS" pitchFamily="34" charset="-128"/>
            </a:endParaRPr>
          </a:p>
        </p:txBody>
      </p:sp>
      <p:sp>
        <p:nvSpPr>
          <p:cNvPr id="10" name="Прямоугольник 12"/>
          <p:cNvSpPr>
            <a:spLocks noChangeArrowheads="1"/>
          </p:cNvSpPr>
          <p:nvPr/>
        </p:nvSpPr>
        <p:spPr bwMode="auto">
          <a:xfrm>
            <a:off x="4503935" y="5127444"/>
            <a:ext cx="62552" cy="243379"/>
          </a:xfrm>
          <a:prstGeom prst="rect">
            <a:avLst/>
          </a:prstGeom>
          <a:solidFill>
            <a:srgbClr val="92D050"/>
          </a:solidFill>
          <a:ln w="9525" algn="ctr">
            <a:solidFill>
              <a:srgbClr val="008C7F"/>
            </a:solidFill>
            <a:round/>
            <a:headEnd/>
            <a:tailEnd/>
          </a:ln>
        </p:spPr>
        <p:txBody>
          <a:bodyPr lIns="91426" tIns="45714" rIns="91426" bIns="45714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 sz="1000" dirty="0">
              <a:solidFill>
                <a:srgbClr val="000000"/>
              </a:solidFill>
              <a:latin typeface="Arial Unicode MS" pitchFamily="34" charset="-128"/>
            </a:endParaRPr>
          </a:p>
        </p:txBody>
      </p:sp>
      <p:sp>
        <p:nvSpPr>
          <p:cNvPr id="11" name="Прямоугольник 14"/>
          <p:cNvSpPr>
            <a:spLocks noChangeArrowheads="1"/>
          </p:cNvSpPr>
          <p:nvPr/>
        </p:nvSpPr>
        <p:spPr bwMode="auto">
          <a:xfrm>
            <a:off x="4438215" y="5492182"/>
            <a:ext cx="65723" cy="244837"/>
          </a:xfrm>
          <a:prstGeom prst="rect">
            <a:avLst/>
          </a:prstGeom>
          <a:solidFill>
            <a:srgbClr val="92D050"/>
          </a:solidFill>
          <a:ln w="9525" algn="ctr">
            <a:solidFill>
              <a:srgbClr val="008C7F"/>
            </a:solidFill>
            <a:round/>
            <a:headEnd/>
            <a:tailEnd/>
          </a:ln>
        </p:spPr>
        <p:txBody>
          <a:bodyPr lIns="91426" tIns="45714" rIns="91426" bIns="45714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 sz="1000">
              <a:solidFill>
                <a:srgbClr val="000000"/>
              </a:solidFill>
              <a:latin typeface="Arial Unicode MS" pitchFamily="34" charset="-128"/>
            </a:endParaRPr>
          </a:p>
        </p:txBody>
      </p:sp>
      <p:sp>
        <p:nvSpPr>
          <p:cNvPr id="18" name="Прямоугольник 14"/>
          <p:cNvSpPr>
            <a:spLocks noChangeArrowheads="1"/>
          </p:cNvSpPr>
          <p:nvPr/>
        </p:nvSpPr>
        <p:spPr bwMode="auto">
          <a:xfrm>
            <a:off x="4852917" y="3004180"/>
            <a:ext cx="50176" cy="244800"/>
          </a:xfrm>
          <a:prstGeom prst="rect">
            <a:avLst/>
          </a:prstGeom>
          <a:solidFill>
            <a:srgbClr val="FFC000"/>
          </a:solidFill>
          <a:ln w="9525" algn="ctr">
            <a:solidFill>
              <a:srgbClr val="008C7F"/>
            </a:solidFill>
            <a:round/>
            <a:headEnd/>
            <a:tailEnd/>
          </a:ln>
        </p:spPr>
        <p:txBody>
          <a:bodyPr lIns="91426" tIns="45714" rIns="91426" bIns="45714"/>
          <a:lstStyle/>
          <a:p>
            <a:pPr>
              <a:defRPr/>
            </a:pPr>
            <a:endParaRPr lang="ru-RU" sz="1000">
              <a:solidFill>
                <a:srgbClr val="000000"/>
              </a:solidFill>
              <a:latin typeface="Arial Unicode MS" pitchFamily="34" charset="-128"/>
            </a:endParaRPr>
          </a:p>
        </p:txBody>
      </p:sp>
      <p:sp>
        <p:nvSpPr>
          <p:cNvPr id="19" name="Прямоугольник 15"/>
          <p:cNvSpPr>
            <a:spLocks noChangeArrowheads="1"/>
          </p:cNvSpPr>
          <p:nvPr/>
        </p:nvSpPr>
        <p:spPr bwMode="auto">
          <a:xfrm>
            <a:off x="4699959" y="4219873"/>
            <a:ext cx="60197" cy="244800"/>
          </a:xfrm>
          <a:prstGeom prst="rect">
            <a:avLst/>
          </a:prstGeom>
          <a:solidFill>
            <a:srgbClr val="FFC000"/>
          </a:solidFill>
          <a:ln w="9525" algn="ctr">
            <a:solidFill>
              <a:srgbClr val="008C7F"/>
            </a:solidFill>
            <a:round/>
            <a:headEnd/>
            <a:tailEnd/>
          </a:ln>
        </p:spPr>
        <p:txBody>
          <a:bodyPr lIns="91426" tIns="45714" rIns="91426" bIns="45714"/>
          <a:lstStyle/>
          <a:p>
            <a:pPr>
              <a:defRPr/>
            </a:pPr>
            <a:endParaRPr lang="ru-RU" sz="1000">
              <a:solidFill>
                <a:srgbClr val="000000"/>
              </a:solidFill>
              <a:latin typeface="Arial Unicode MS" pitchFamily="34" charset="-128"/>
            </a:endParaRPr>
          </a:p>
        </p:txBody>
      </p:sp>
      <p:sp>
        <p:nvSpPr>
          <p:cNvPr id="20" name="Прямоугольник 15"/>
          <p:cNvSpPr>
            <a:spLocks noChangeArrowheads="1"/>
          </p:cNvSpPr>
          <p:nvPr/>
        </p:nvSpPr>
        <p:spPr bwMode="auto">
          <a:xfrm flipH="1">
            <a:off x="4827526" y="3409411"/>
            <a:ext cx="26065" cy="244800"/>
          </a:xfrm>
          <a:prstGeom prst="rect">
            <a:avLst/>
          </a:prstGeom>
          <a:solidFill>
            <a:srgbClr val="FFC000"/>
          </a:solidFill>
          <a:ln w="9525" algn="ctr">
            <a:solidFill>
              <a:srgbClr val="008C7F"/>
            </a:solidFill>
            <a:round/>
            <a:headEnd/>
            <a:tailEnd/>
          </a:ln>
        </p:spPr>
        <p:txBody>
          <a:bodyPr lIns="91426" tIns="45714" rIns="91426" bIns="45714"/>
          <a:lstStyle/>
          <a:p>
            <a:pPr>
              <a:defRPr/>
            </a:pPr>
            <a:endParaRPr lang="ru-RU" sz="1000">
              <a:solidFill>
                <a:srgbClr val="000000"/>
              </a:solidFill>
              <a:latin typeface="Arial Unicode MS" pitchFamily="34" charset="-128"/>
            </a:endParaRPr>
          </a:p>
        </p:txBody>
      </p:sp>
      <p:sp>
        <p:nvSpPr>
          <p:cNvPr id="22" name="Прямоугольник 15"/>
          <p:cNvSpPr>
            <a:spLocks noChangeArrowheads="1"/>
          </p:cNvSpPr>
          <p:nvPr/>
        </p:nvSpPr>
        <p:spPr bwMode="auto">
          <a:xfrm>
            <a:off x="4393670" y="5858374"/>
            <a:ext cx="45719" cy="244109"/>
          </a:xfrm>
          <a:prstGeom prst="rect">
            <a:avLst/>
          </a:prstGeom>
          <a:solidFill>
            <a:srgbClr val="92D050"/>
          </a:solidFill>
          <a:ln w="9525" algn="ctr">
            <a:solidFill>
              <a:srgbClr val="008C7F"/>
            </a:solidFill>
            <a:round/>
            <a:headEnd/>
            <a:tailEnd/>
          </a:ln>
        </p:spPr>
        <p:txBody>
          <a:bodyPr lIns="91426" tIns="45714" rIns="91426" bIns="45714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 sz="1000">
              <a:solidFill>
                <a:srgbClr val="000000"/>
              </a:solidFill>
              <a:latin typeface="Arial Unicode MS" pitchFamily="34" charset="-128"/>
            </a:endParaRPr>
          </a:p>
        </p:txBody>
      </p:sp>
      <p:sp>
        <p:nvSpPr>
          <p:cNvPr id="24" name="Прямоугольник 15"/>
          <p:cNvSpPr>
            <a:spLocks noChangeArrowheads="1"/>
          </p:cNvSpPr>
          <p:nvPr/>
        </p:nvSpPr>
        <p:spPr bwMode="auto">
          <a:xfrm>
            <a:off x="4760063" y="3814642"/>
            <a:ext cx="68663" cy="244800"/>
          </a:xfrm>
          <a:prstGeom prst="rect">
            <a:avLst/>
          </a:prstGeom>
          <a:solidFill>
            <a:srgbClr val="FFC000"/>
          </a:solidFill>
          <a:ln w="9525" algn="ctr">
            <a:solidFill>
              <a:srgbClr val="008C7F"/>
            </a:solidFill>
            <a:round/>
            <a:headEnd/>
            <a:tailEnd/>
          </a:ln>
        </p:spPr>
        <p:txBody>
          <a:bodyPr lIns="91426" tIns="45714" rIns="91426" bIns="45714"/>
          <a:lstStyle/>
          <a:p>
            <a:pPr>
              <a:defRPr/>
            </a:pPr>
            <a:endParaRPr lang="ru-RU" sz="1000">
              <a:solidFill>
                <a:srgbClr val="000000"/>
              </a:solidFill>
              <a:latin typeface="Arial Unicode MS" pitchFamily="34" charset="-128"/>
            </a:endParaRPr>
          </a:p>
        </p:txBody>
      </p:sp>
      <p:sp>
        <p:nvSpPr>
          <p:cNvPr id="30" name="Прямоугольник 14"/>
          <p:cNvSpPr>
            <a:spLocks noChangeArrowheads="1"/>
          </p:cNvSpPr>
          <p:nvPr/>
        </p:nvSpPr>
        <p:spPr bwMode="auto">
          <a:xfrm>
            <a:off x="4276408" y="6189628"/>
            <a:ext cx="117265" cy="239976"/>
          </a:xfrm>
          <a:prstGeom prst="rect">
            <a:avLst/>
          </a:prstGeom>
          <a:solidFill>
            <a:srgbClr val="92D050"/>
          </a:solidFill>
          <a:ln w="9525" algn="ctr">
            <a:solidFill>
              <a:srgbClr val="008C7F"/>
            </a:solidFill>
            <a:round/>
            <a:headEnd/>
            <a:tailEnd/>
          </a:ln>
        </p:spPr>
        <p:txBody>
          <a:bodyPr lIns="91426" tIns="45714" rIns="91426" bIns="45714" anchor="ctr"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 sz="1000">
              <a:solidFill>
                <a:srgbClr val="000000"/>
              </a:solidFill>
              <a:latin typeface="Arial Unicode MS" pitchFamily="34" charset="-128"/>
            </a:endParaRPr>
          </a:p>
        </p:txBody>
      </p:sp>
      <p:cxnSp>
        <p:nvCxnSpPr>
          <p:cNvPr id="44" name="Прямая соединительная линия 43"/>
          <p:cNvCxnSpPr/>
          <p:nvPr/>
        </p:nvCxnSpPr>
        <p:spPr bwMode="auto">
          <a:xfrm>
            <a:off x="4269906" y="1612032"/>
            <a:ext cx="0" cy="481998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Прямая соединительная линия 49"/>
          <p:cNvCxnSpPr/>
          <p:nvPr/>
        </p:nvCxnSpPr>
        <p:spPr bwMode="auto">
          <a:xfrm>
            <a:off x="4393336" y="6106223"/>
            <a:ext cx="0" cy="118012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Прямая соединительная линия 50"/>
          <p:cNvCxnSpPr/>
          <p:nvPr/>
        </p:nvCxnSpPr>
        <p:spPr bwMode="auto">
          <a:xfrm>
            <a:off x="4438212" y="5728454"/>
            <a:ext cx="0" cy="14400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2" name="Прямая соединительная линия 51"/>
          <p:cNvCxnSpPr/>
          <p:nvPr/>
        </p:nvCxnSpPr>
        <p:spPr bwMode="auto">
          <a:xfrm>
            <a:off x="4503935" y="5363680"/>
            <a:ext cx="0" cy="14400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3" name="Прямая соединительная линия 52"/>
          <p:cNvCxnSpPr/>
          <p:nvPr/>
        </p:nvCxnSpPr>
        <p:spPr bwMode="auto">
          <a:xfrm>
            <a:off x="4566417" y="4998906"/>
            <a:ext cx="0" cy="14400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4" name="Прямая соединительная линия 53"/>
          <p:cNvCxnSpPr/>
          <p:nvPr/>
        </p:nvCxnSpPr>
        <p:spPr bwMode="auto">
          <a:xfrm>
            <a:off x="4760056" y="4053118"/>
            <a:ext cx="0" cy="17924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Прямая соединительная линия 54"/>
          <p:cNvCxnSpPr/>
          <p:nvPr/>
        </p:nvCxnSpPr>
        <p:spPr bwMode="auto">
          <a:xfrm>
            <a:off x="4828724" y="3651648"/>
            <a:ext cx="0" cy="168852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6" name="Прямая соединительная линия 55"/>
          <p:cNvCxnSpPr/>
          <p:nvPr/>
        </p:nvCxnSpPr>
        <p:spPr bwMode="auto">
          <a:xfrm>
            <a:off x="4852841" y="3248129"/>
            <a:ext cx="0" cy="15840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7" name="Прямая соединительная линия 56"/>
          <p:cNvCxnSpPr/>
          <p:nvPr/>
        </p:nvCxnSpPr>
        <p:spPr bwMode="auto">
          <a:xfrm>
            <a:off x="4903093" y="2220193"/>
            <a:ext cx="0" cy="874258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8" name="Прямая соединительная линия 57"/>
          <p:cNvCxnSpPr/>
          <p:nvPr/>
        </p:nvCxnSpPr>
        <p:spPr bwMode="auto">
          <a:xfrm>
            <a:off x="4701866" y="4469048"/>
            <a:ext cx="0" cy="316855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9" name="Прямая соединительная линия 58"/>
          <p:cNvCxnSpPr/>
          <p:nvPr/>
        </p:nvCxnSpPr>
        <p:spPr bwMode="auto">
          <a:xfrm>
            <a:off x="5953493" y="1591783"/>
            <a:ext cx="0" cy="807382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2" name="Прямая соединительная линия 61"/>
          <p:cNvCxnSpPr/>
          <p:nvPr/>
        </p:nvCxnSpPr>
        <p:spPr bwMode="auto">
          <a:xfrm>
            <a:off x="2121348" y="4617132"/>
            <a:ext cx="7677448" cy="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3" name="Прямая соединительная линия 62"/>
          <p:cNvCxnSpPr/>
          <p:nvPr/>
        </p:nvCxnSpPr>
        <p:spPr bwMode="auto">
          <a:xfrm>
            <a:off x="2116913" y="2925870"/>
            <a:ext cx="7672624" cy="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4" name="TextBox 63"/>
          <p:cNvSpPr txBox="1"/>
          <p:nvPr/>
        </p:nvSpPr>
        <p:spPr>
          <a:xfrm>
            <a:off x="6268338" y="948173"/>
            <a:ext cx="3521255" cy="404387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lIns="91426" tIns="45714" rIns="91426" bIns="45714" rtlCol="0" anchor="ctr">
            <a:noAutofit/>
          </a:bodyPr>
          <a:lstStyle/>
          <a:p>
            <a:pPr algn="ctr"/>
            <a:r>
              <a:rPr lang="ru-RU" sz="1200" b="1" dirty="0" smtClean="0">
                <a:solidFill>
                  <a:srgbClr val="FFFFFF">
                    <a:lumMod val="95000"/>
                  </a:srgbClr>
                </a:solidFill>
              </a:rPr>
              <a:t>Группы оборудования по потенциалу локализации</a:t>
            </a:r>
            <a:endParaRPr lang="ru-RU" sz="1200" b="1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70039" y="952465"/>
            <a:ext cx="1901626" cy="544835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91426" tIns="45714" rIns="91426" bIns="45714" rtlCol="0" anchor="t">
            <a:noAutofit/>
          </a:bodyPr>
          <a:lstStyle/>
          <a:p>
            <a:pPr marL="228564" indent="-228564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srgbClr val="000000"/>
                </a:solidFill>
              </a:rPr>
              <a:t>Локация – Тобольск</a:t>
            </a:r>
          </a:p>
          <a:p>
            <a:pPr marL="228564" lvl="1" indent="-228564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000" dirty="0" smtClean="0">
                <a:solidFill>
                  <a:srgbClr val="000000"/>
                </a:solidFill>
              </a:rPr>
              <a:t>Планируемые сроки реализации проекта: в течение 5-5,5 лет</a:t>
            </a:r>
          </a:p>
          <a:p>
            <a:pPr marL="228564" lvl="1" indent="-228564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000" dirty="0" smtClean="0">
                <a:solidFill>
                  <a:srgbClr val="000000"/>
                </a:solidFill>
              </a:rPr>
              <a:t>CAPEX</a:t>
            </a:r>
            <a:r>
              <a:rPr lang="ru-RU" sz="1000" dirty="0" smtClean="0">
                <a:solidFill>
                  <a:srgbClr val="000000"/>
                </a:solidFill>
              </a:rPr>
              <a:t>: около 9</a:t>
            </a:r>
            <a:r>
              <a:rPr lang="en-US" sz="1000" dirty="0" smtClean="0">
                <a:solidFill>
                  <a:srgbClr val="000000"/>
                </a:solidFill>
              </a:rPr>
              <a:t>,5</a:t>
            </a:r>
            <a:r>
              <a:rPr lang="ru-RU" sz="1000" dirty="0" smtClean="0">
                <a:solidFill>
                  <a:srgbClr val="000000"/>
                </a:solidFill>
              </a:rPr>
              <a:t> </a:t>
            </a:r>
            <a:r>
              <a:rPr lang="ru-RU" sz="1000" dirty="0">
                <a:solidFill>
                  <a:srgbClr val="000000"/>
                </a:solidFill>
              </a:rPr>
              <a:t>млрд долл</a:t>
            </a:r>
            <a:r>
              <a:rPr lang="ru-RU" sz="1000" dirty="0" smtClean="0">
                <a:solidFill>
                  <a:srgbClr val="000000"/>
                </a:solidFill>
              </a:rPr>
              <a:t>.* </a:t>
            </a:r>
            <a:endParaRPr lang="ru-RU" sz="1000" dirty="0">
              <a:solidFill>
                <a:srgbClr val="000000"/>
              </a:solidFill>
            </a:endParaRPr>
          </a:p>
          <a:p>
            <a:pPr marL="228564" lvl="1" indent="-228564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srgbClr val="000000"/>
                </a:solidFill>
              </a:rPr>
              <a:t>Конфигурация:</a:t>
            </a:r>
          </a:p>
          <a:p>
            <a:pPr marL="287956" lvl="1" indent="-228564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ru-RU" sz="1000" dirty="0">
                <a:solidFill>
                  <a:srgbClr val="000000"/>
                </a:solidFill>
              </a:rPr>
              <a:t>Пиролиз – 1.5 млн тонн</a:t>
            </a:r>
          </a:p>
          <a:p>
            <a:pPr marL="287956" lvl="1" indent="-228564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ru-RU" sz="1000" dirty="0">
                <a:solidFill>
                  <a:srgbClr val="000000"/>
                </a:solidFill>
              </a:rPr>
              <a:t>Полиолефины – 2.0 млн тонн</a:t>
            </a:r>
          </a:p>
          <a:p>
            <a:pPr marL="228564" lvl="1" indent="-228564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srgbClr val="000000"/>
                </a:solidFill>
              </a:rPr>
              <a:t>Крупнейший пиролиз в РФ</a:t>
            </a:r>
          </a:p>
          <a:p>
            <a:pPr marL="459380" lvl="1" indent="-171424">
              <a:buFont typeface="Wingdings" panose="05000000000000000000" pitchFamily="2" charset="2"/>
              <a:buChar char="Ø"/>
            </a:pP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170039" y="952465"/>
            <a:ext cx="1901626" cy="400095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txBody>
          <a:bodyPr wrap="square" lIns="91426" tIns="45714" rIns="91426" bIns="45714" rtlCol="0" anchor="ctr">
            <a:noAutofit/>
          </a:bodyPr>
          <a:lstStyle/>
          <a:p>
            <a:pPr algn="ctr"/>
            <a:r>
              <a:rPr lang="ru-RU" sz="1200" b="1" dirty="0" smtClean="0">
                <a:solidFill>
                  <a:srgbClr val="FFFFFF"/>
                </a:solidFill>
              </a:rPr>
              <a:t>Описание проекта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6355528" y="1448987"/>
            <a:ext cx="3434010" cy="26159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lIns="91426" tIns="45714" rIns="91426" bIns="45714" rtlCol="0" anchor="ctr">
            <a:spAutoFit/>
          </a:bodyPr>
          <a:lstStyle/>
          <a:p>
            <a:pPr algn="ctr"/>
            <a:r>
              <a:rPr lang="ru-RU" sz="1100" b="1" dirty="0">
                <a:solidFill>
                  <a:srgbClr val="FFFFFF">
                    <a:lumMod val="95000"/>
                  </a:srgbClr>
                </a:solidFill>
              </a:rPr>
              <a:t>Не может быть локализовано</a:t>
            </a:r>
          </a:p>
        </p:txBody>
      </p:sp>
      <p:sp>
        <p:nvSpPr>
          <p:cNvPr id="69" name="Блок-схема: узел 68"/>
          <p:cNvSpPr>
            <a:spLocks noChangeAspect="1"/>
          </p:cNvSpPr>
          <p:nvPr/>
        </p:nvSpPr>
        <p:spPr bwMode="auto">
          <a:xfrm>
            <a:off x="6277541" y="1421322"/>
            <a:ext cx="252000" cy="252000"/>
          </a:xfrm>
          <a:prstGeom prst="flowChartConnector">
            <a:avLst/>
          </a:prstGeom>
          <a:solidFill>
            <a:srgbClr val="92D05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6" tIns="45714" rIns="91426" bIns="45714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i="1" dirty="0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6355534" y="2969027"/>
            <a:ext cx="3434009" cy="26159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lIns="91426" tIns="45714" rIns="91426" bIns="45714" rtlCol="0" anchor="ctr">
            <a:spAutoFit/>
          </a:bodyPr>
          <a:lstStyle/>
          <a:p>
            <a:pPr algn="ctr"/>
            <a:r>
              <a:rPr lang="ru-RU" sz="1100" b="1" dirty="0">
                <a:solidFill>
                  <a:srgbClr val="FFFFFF">
                    <a:lumMod val="95000"/>
                  </a:srgbClr>
                </a:solidFill>
              </a:rPr>
              <a:t>Может быть локализовано при условии…</a:t>
            </a:r>
          </a:p>
        </p:txBody>
      </p:sp>
      <p:sp>
        <p:nvSpPr>
          <p:cNvPr id="72" name="Блок-схема: узел 71"/>
          <p:cNvSpPr>
            <a:spLocks noChangeAspect="1"/>
          </p:cNvSpPr>
          <p:nvPr/>
        </p:nvSpPr>
        <p:spPr bwMode="auto">
          <a:xfrm>
            <a:off x="6277519" y="2943876"/>
            <a:ext cx="252000" cy="252000"/>
          </a:xfrm>
          <a:prstGeom prst="flowChartConnector">
            <a:avLst/>
          </a:prstGeom>
          <a:solidFill>
            <a:srgbClr val="92D05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6" tIns="45714" rIns="91426" bIns="45714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i="1" dirty="0">
                <a:solidFill>
                  <a:srgbClr val="000000"/>
                </a:solidFill>
              </a:rPr>
              <a:t>2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6355751" y="3226003"/>
            <a:ext cx="3433841" cy="133214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91426" tIns="45714" rIns="91426" bIns="45714" rtlCol="0">
            <a:noAutofit/>
          </a:bodyPr>
          <a:lstStyle/>
          <a:p>
            <a:pPr marL="171424" indent="-171424">
              <a:buFont typeface="Arial" panose="020B0604020202020204" pitchFamily="34" charset="0"/>
              <a:buChar char="•"/>
            </a:pPr>
            <a:r>
              <a:rPr lang="ru-RU" sz="900" b="1" dirty="0">
                <a:solidFill>
                  <a:srgbClr val="000000"/>
                </a:solidFill>
              </a:rPr>
              <a:t>Системный рост </a:t>
            </a:r>
            <a:r>
              <a:rPr lang="ru-RU" sz="900" b="1" dirty="0" err="1">
                <a:solidFill>
                  <a:srgbClr val="000000"/>
                </a:solidFill>
              </a:rPr>
              <a:t>конкурентности</a:t>
            </a:r>
            <a:r>
              <a:rPr lang="ru-RU" sz="900" dirty="0">
                <a:solidFill>
                  <a:srgbClr val="000000"/>
                </a:solidFill>
              </a:rPr>
              <a:t> отечественной продукции (качество, цена, объем)</a:t>
            </a:r>
          </a:p>
          <a:p>
            <a:pPr marL="171424" indent="-171424">
              <a:buFont typeface="Arial" panose="020B0604020202020204" pitchFamily="34" charset="0"/>
              <a:buChar char="•"/>
            </a:pPr>
            <a:r>
              <a:rPr lang="ru-RU" sz="900" b="1" dirty="0">
                <a:solidFill>
                  <a:srgbClr val="000000"/>
                </a:solidFill>
              </a:rPr>
              <a:t>Техническая совместимость</a:t>
            </a:r>
            <a:r>
              <a:rPr lang="ru-RU" sz="900" dirty="0">
                <a:solidFill>
                  <a:srgbClr val="000000"/>
                </a:solidFill>
              </a:rPr>
              <a:t> (соответствие встраиваемых элементов оборудования требованиям технологических и лицензионных договоров)</a:t>
            </a:r>
          </a:p>
          <a:p>
            <a:pPr marL="171424" indent="-171424">
              <a:buFont typeface="Arial" panose="020B0604020202020204" pitchFamily="34" charset="0"/>
              <a:buChar char="•"/>
            </a:pPr>
            <a:r>
              <a:rPr lang="ru-RU" sz="900" b="1" dirty="0">
                <a:solidFill>
                  <a:srgbClr val="000000"/>
                </a:solidFill>
              </a:rPr>
              <a:t>Снижение удельных затрат</a:t>
            </a:r>
            <a:r>
              <a:rPr lang="ru-RU" sz="900" dirty="0">
                <a:solidFill>
                  <a:srgbClr val="000000"/>
                </a:solidFill>
              </a:rPr>
              <a:t> на приобретение и общей стоимости владения</a:t>
            </a:r>
          </a:p>
          <a:p>
            <a:pPr marL="171424" indent="-171424">
              <a:buFont typeface="Arial" panose="020B0604020202020204" pitchFamily="34" charset="0"/>
              <a:buChar char="•"/>
            </a:pPr>
            <a:r>
              <a:rPr lang="ru-RU" sz="900" b="1" dirty="0">
                <a:solidFill>
                  <a:srgbClr val="000000"/>
                </a:solidFill>
              </a:rPr>
              <a:t>Компании</a:t>
            </a:r>
            <a:r>
              <a:rPr lang="ru-RU" sz="900" dirty="0">
                <a:solidFill>
                  <a:srgbClr val="000000"/>
                </a:solidFill>
              </a:rPr>
              <a:t>: </a:t>
            </a:r>
            <a:r>
              <a:rPr lang="ru-RU" sz="900" dirty="0"/>
              <a:t>Группа ОМЗ и др.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6355751" y="4670224"/>
            <a:ext cx="3433841" cy="26159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lIns="91426" tIns="45714" rIns="91426" bIns="45714" rtlCol="0" anchor="ctr">
            <a:spAutoFit/>
          </a:bodyPr>
          <a:lstStyle/>
          <a:p>
            <a:pPr algn="ctr"/>
            <a:r>
              <a:rPr lang="ru-RU" sz="1100" b="1" dirty="0">
                <a:solidFill>
                  <a:srgbClr val="FFFFFF">
                    <a:lumMod val="95000"/>
                  </a:srgbClr>
                </a:solidFill>
              </a:rPr>
              <a:t>Успешно локализовано</a:t>
            </a:r>
          </a:p>
        </p:txBody>
      </p:sp>
      <p:sp>
        <p:nvSpPr>
          <p:cNvPr id="75" name="Блок-схема: узел 74"/>
          <p:cNvSpPr>
            <a:spLocks noChangeAspect="1"/>
          </p:cNvSpPr>
          <p:nvPr/>
        </p:nvSpPr>
        <p:spPr bwMode="auto">
          <a:xfrm>
            <a:off x="6268283" y="4656776"/>
            <a:ext cx="252000" cy="252000"/>
          </a:xfrm>
          <a:prstGeom prst="flowChartConnector">
            <a:avLst/>
          </a:prstGeom>
          <a:solidFill>
            <a:srgbClr val="92D05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6" tIns="45714" rIns="91426" bIns="45714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i="1" dirty="0">
                <a:solidFill>
                  <a:srgbClr val="000000"/>
                </a:solidFill>
              </a:rPr>
              <a:t>3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6355696" y="4927943"/>
            <a:ext cx="3433842" cy="147287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91426" tIns="45714" rIns="91426" bIns="45714" rtlCol="0">
            <a:noAutofit/>
          </a:bodyPr>
          <a:lstStyle/>
          <a:p>
            <a:pPr marL="171424" indent="-171424">
              <a:buFont typeface="Arial" panose="020B0604020202020204" pitchFamily="34" charset="0"/>
              <a:buChar char="•"/>
            </a:pPr>
            <a:r>
              <a:rPr lang="ru-RU" sz="900" b="1" dirty="0">
                <a:solidFill>
                  <a:srgbClr val="000000"/>
                </a:solidFill>
              </a:rPr>
              <a:t>Статического оборудования </a:t>
            </a:r>
          </a:p>
          <a:p>
            <a:pPr marL="359945" indent="-171424">
              <a:buFont typeface="Wingdings" panose="05000000000000000000" pitchFamily="2" charset="2"/>
              <a:buChar char="Ø"/>
            </a:pPr>
            <a:r>
              <a:rPr lang="ru-RU" sz="900" dirty="0">
                <a:solidFill>
                  <a:srgbClr val="000000"/>
                </a:solidFill>
              </a:rPr>
              <a:t>локализация строительных материалов и металлоконструкций достигает </a:t>
            </a:r>
          </a:p>
          <a:p>
            <a:pPr marL="359945" indent="-171424">
              <a:buFont typeface="Wingdings" panose="05000000000000000000" pitchFamily="2" charset="2"/>
              <a:buChar char="Ø"/>
            </a:pPr>
            <a:r>
              <a:rPr lang="ru-RU" sz="900" dirty="0">
                <a:solidFill>
                  <a:srgbClr val="000000"/>
                </a:solidFill>
              </a:rPr>
              <a:t>кабельной и трубной  продукции достигает</a:t>
            </a:r>
          </a:p>
          <a:p>
            <a:pPr marL="171424" indent="-171424">
              <a:buFont typeface="Arial" panose="020B0604020202020204" pitchFamily="34" charset="0"/>
              <a:buChar char="•"/>
            </a:pPr>
            <a:r>
              <a:rPr lang="ru-RU" sz="900" b="1" dirty="0">
                <a:solidFill>
                  <a:srgbClr val="000000"/>
                </a:solidFill>
              </a:rPr>
              <a:t>Оборудования, производящегося из импортных комплектующих в РФ</a:t>
            </a:r>
            <a:r>
              <a:rPr lang="ru-RU" sz="900" dirty="0">
                <a:solidFill>
                  <a:srgbClr val="000000"/>
                </a:solidFill>
              </a:rPr>
              <a:t> ( «Сименс», «АББ», «Шнайдер электрик», «</a:t>
            </a:r>
            <a:r>
              <a:rPr lang="ru-RU" sz="900" dirty="0" err="1">
                <a:solidFill>
                  <a:srgbClr val="000000"/>
                </a:solidFill>
              </a:rPr>
              <a:t>Йокогава</a:t>
            </a:r>
            <a:r>
              <a:rPr lang="ru-RU" sz="900" dirty="0">
                <a:solidFill>
                  <a:srgbClr val="000000"/>
                </a:solidFill>
              </a:rPr>
              <a:t> электрик СНГ» и др.)</a:t>
            </a:r>
          </a:p>
        </p:txBody>
      </p:sp>
      <p:sp>
        <p:nvSpPr>
          <p:cNvPr id="77" name="TextBox 5"/>
          <p:cNvSpPr txBox="1">
            <a:spLocks noChangeArrowheads="1"/>
          </p:cNvSpPr>
          <p:nvPr/>
        </p:nvSpPr>
        <p:spPr bwMode="auto">
          <a:xfrm>
            <a:off x="2116913" y="2132856"/>
            <a:ext cx="2160000" cy="246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4" rIns="91426" bIns="45714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000" dirty="0">
                <a:solidFill>
                  <a:srgbClr val="000000"/>
                </a:solidFill>
                <a:latin typeface="Arial Unicode MS" pitchFamily="34" charset="-128"/>
              </a:rPr>
              <a:t>Не локализуется в РФ</a:t>
            </a:r>
          </a:p>
        </p:txBody>
      </p:sp>
      <p:sp>
        <p:nvSpPr>
          <p:cNvPr id="78" name="TextBox 5"/>
          <p:cNvSpPr txBox="1">
            <a:spLocks noChangeArrowheads="1"/>
          </p:cNvSpPr>
          <p:nvPr/>
        </p:nvSpPr>
        <p:spPr bwMode="auto">
          <a:xfrm>
            <a:off x="2116913" y="4766604"/>
            <a:ext cx="2160000" cy="246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4" rIns="91426" bIns="45714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000" dirty="0" smtClean="0">
                <a:solidFill>
                  <a:srgbClr val="000000"/>
                </a:solidFill>
                <a:latin typeface="Arial Unicode MS" pitchFamily="34" charset="-128"/>
              </a:rPr>
              <a:t>Электрооборудование</a:t>
            </a:r>
            <a:endParaRPr lang="ru-RU" altLang="ru-RU" sz="1000" dirty="0">
              <a:solidFill>
                <a:srgbClr val="000000"/>
              </a:solidFill>
              <a:latin typeface="Arial Unicode MS" pitchFamily="34" charset="-128"/>
            </a:endParaRPr>
          </a:p>
        </p:txBody>
      </p:sp>
      <p:sp>
        <p:nvSpPr>
          <p:cNvPr id="79" name="TextBox 5"/>
          <p:cNvSpPr txBox="1">
            <a:spLocks noChangeArrowheads="1"/>
          </p:cNvSpPr>
          <p:nvPr/>
        </p:nvSpPr>
        <p:spPr bwMode="auto">
          <a:xfrm>
            <a:off x="2116913" y="5479132"/>
            <a:ext cx="2160000" cy="246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4" rIns="91426" bIns="45714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000" dirty="0">
                <a:solidFill>
                  <a:srgbClr val="000000"/>
                </a:solidFill>
                <a:latin typeface="Arial Unicode MS" pitchFamily="34" charset="-128"/>
              </a:rPr>
              <a:t>АСУТП</a:t>
            </a:r>
          </a:p>
        </p:txBody>
      </p:sp>
      <p:sp>
        <p:nvSpPr>
          <p:cNvPr id="80" name="TextBox 5"/>
          <p:cNvSpPr txBox="1">
            <a:spLocks noChangeArrowheads="1"/>
          </p:cNvSpPr>
          <p:nvPr/>
        </p:nvSpPr>
        <p:spPr bwMode="auto">
          <a:xfrm>
            <a:off x="2116912" y="2925615"/>
            <a:ext cx="2160000" cy="400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4" rIns="91426" bIns="45714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000" dirty="0">
                <a:solidFill>
                  <a:srgbClr val="000000"/>
                </a:solidFill>
                <a:latin typeface="Arial Unicode MS" pitchFamily="34" charset="-128"/>
              </a:rPr>
              <a:t>Ёмкостное и колонное оборудование</a:t>
            </a:r>
          </a:p>
        </p:txBody>
      </p:sp>
      <p:sp>
        <p:nvSpPr>
          <p:cNvPr id="81" name="TextBox 5"/>
          <p:cNvSpPr txBox="1">
            <a:spLocks noChangeArrowheads="1"/>
          </p:cNvSpPr>
          <p:nvPr/>
        </p:nvSpPr>
        <p:spPr bwMode="auto">
          <a:xfrm>
            <a:off x="2116913" y="5133101"/>
            <a:ext cx="2160000" cy="246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4" rIns="91426" bIns="45714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000" dirty="0">
                <a:solidFill>
                  <a:srgbClr val="000000"/>
                </a:solidFill>
                <a:latin typeface="Arial Unicode MS" pitchFamily="34" charset="-128"/>
              </a:rPr>
              <a:t>Оборудование лабораторий</a:t>
            </a:r>
          </a:p>
        </p:txBody>
      </p:sp>
      <p:sp>
        <p:nvSpPr>
          <p:cNvPr id="82" name="TextBox 5"/>
          <p:cNvSpPr txBox="1">
            <a:spLocks noChangeArrowheads="1"/>
          </p:cNvSpPr>
          <p:nvPr/>
        </p:nvSpPr>
        <p:spPr bwMode="auto">
          <a:xfrm>
            <a:off x="2116913" y="4222499"/>
            <a:ext cx="2160000" cy="246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4" rIns="91426" bIns="45714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000" dirty="0">
                <a:solidFill>
                  <a:srgbClr val="000000"/>
                </a:solidFill>
                <a:latin typeface="Arial Unicode MS" pitchFamily="34" charset="-128"/>
              </a:rPr>
              <a:t>Градирни</a:t>
            </a:r>
          </a:p>
        </p:txBody>
      </p:sp>
      <p:sp>
        <p:nvSpPr>
          <p:cNvPr id="83" name="TextBox 5"/>
          <p:cNvSpPr txBox="1">
            <a:spLocks noChangeArrowheads="1"/>
          </p:cNvSpPr>
          <p:nvPr/>
        </p:nvSpPr>
        <p:spPr bwMode="auto">
          <a:xfrm>
            <a:off x="2116913" y="3401006"/>
            <a:ext cx="2160000" cy="246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4" rIns="91426" bIns="45714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000" dirty="0" smtClean="0">
                <a:solidFill>
                  <a:srgbClr val="000000"/>
                </a:solidFill>
                <a:latin typeface="Arial Unicode MS" pitchFamily="34" charset="-128"/>
              </a:rPr>
              <a:t>Теплообменное оборудование</a:t>
            </a:r>
            <a:endParaRPr lang="ru-RU" altLang="ru-RU" sz="1000" dirty="0">
              <a:solidFill>
                <a:srgbClr val="000000"/>
              </a:solidFill>
              <a:latin typeface="Arial Unicode MS" pitchFamily="34" charset="-128"/>
            </a:endParaRPr>
          </a:p>
        </p:txBody>
      </p:sp>
      <p:sp>
        <p:nvSpPr>
          <p:cNvPr id="84" name="TextBox 5"/>
          <p:cNvSpPr txBox="1">
            <a:spLocks noChangeArrowheads="1"/>
          </p:cNvSpPr>
          <p:nvPr/>
        </p:nvSpPr>
        <p:spPr bwMode="auto">
          <a:xfrm>
            <a:off x="2116913" y="5845232"/>
            <a:ext cx="2160000" cy="246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4" rIns="91426" bIns="45714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000" dirty="0">
                <a:solidFill>
                  <a:srgbClr val="000000"/>
                </a:solidFill>
                <a:latin typeface="Arial Unicode MS" pitchFamily="34" charset="-128"/>
              </a:rPr>
              <a:t>Факельные системы</a:t>
            </a:r>
          </a:p>
        </p:txBody>
      </p:sp>
      <p:sp>
        <p:nvSpPr>
          <p:cNvPr id="85" name="TextBox 5"/>
          <p:cNvSpPr txBox="1">
            <a:spLocks noChangeArrowheads="1"/>
          </p:cNvSpPr>
          <p:nvPr/>
        </p:nvSpPr>
        <p:spPr bwMode="auto">
          <a:xfrm>
            <a:off x="2116913" y="3789040"/>
            <a:ext cx="2160000" cy="246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4" rIns="91426" bIns="45714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000" dirty="0">
                <a:solidFill>
                  <a:srgbClr val="000000"/>
                </a:solidFill>
                <a:latin typeface="Arial Unicode MS" pitchFamily="34" charset="-128"/>
              </a:rPr>
              <a:t>Резервуары</a:t>
            </a:r>
          </a:p>
        </p:txBody>
      </p:sp>
      <p:sp>
        <p:nvSpPr>
          <p:cNvPr id="86" name="TextBox 5"/>
          <p:cNvSpPr txBox="1">
            <a:spLocks noChangeArrowheads="1"/>
          </p:cNvSpPr>
          <p:nvPr/>
        </p:nvSpPr>
        <p:spPr bwMode="auto">
          <a:xfrm>
            <a:off x="2116913" y="1510503"/>
            <a:ext cx="2160000" cy="246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4" rIns="91426" bIns="45714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000" dirty="0" smtClean="0">
                <a:solidFill>
                  <a:srgbClr val="000000"/>
                </a:solidFill>
                <a:latin typeface="Arial Unicode MS" pitchFamily="34" charset="-128"/>
              </a:rPr>
              <a:t>Всего оборудование</a:t>
            </a:r>
            <a:endParaRPr lang="ru-RU" altLang="ru-RU" sz="1000" dirty="0">
              <a:solidFill>
                <a:srgbClr val="000000"/>
              </a:solidFill>
              <a:latin typeface="Arial Unicode MS" pitchFamily="34" charset="-128"/>
            </a:endParaRPr>
          </a:p>
        </p:txBody>
      </p:sp>
      <p:sp>
        <p:nvSpPr>
          <p:cNvPr id="87" name="TextBox 5"/>
          <p:cNvSpPr txBox="1">
            <a:spLocks noChangeArrowheads="1"/>
          </p:cNvSpPr>
          <p:nvPr/>
        </p:nvSpPr>
        <p:spPr bwMode="auto">
          <a:xfrm>
            <a:off x="2116913" y="6113331"/>
            <a:ext cx="2160000" cy="400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6" tIns="45714" rIns="91426" bIns="45714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altLang="ru-RU" sz="1000" dirty="0">
                <a:solidFill>
                  <a:srgbClr val="000000"/>
                </a:solidFill>
                <a:latin typeface="Arial Unicode MS" pitchFamily="34" charset="-128"/>
              </a:rPr>
              <a:t>Локализуемое оборудование ОЗХ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6355696" y="1706765"/>
            <a:ext cx="3433842" cy="118532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91426" tIns="45714" rIns="91426" bIns="45714" rtlCol="0">
            <a:noAutofit/>
          </a:bodyPr>
          <a:lstStyle/>
          <a:p>
            <a:pPr marL="171424" indent="-17142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900" b="1" dirty="0">
                <a:solidFill>
                  <a:srgbClr val="000000"/>
                </a:solidFill>
              </a:rPr>
              <a:t>Уникальное оборудование</a:t>
            </a:r>
          </a:p>
          <a:p>
            <a:pPr marL="171424" indent="-171424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900" b="1" dirty="0">
                <a:solidFill>
                  <a:srgbClr val="000000"/>
                </a:solidFill>
              </a:rPr>
              <a:t>Технологический и НИОКР потенциал </a:t>
            </a:r>
            <a:r>
              <a:rPr lang="ru-RU" sz="900" dirty="0">
                <a:solidFill>
                  <a:srgbClr val="000000"/>
                </a:solidFill>
              </a:rPr>
              <a:t>российских компаний не позволяет реализовать производство необходимого оборудования</a:t>
            </a:r>
          </a:p>
          <a:p>
            <a:pPr marL="171424" indent="-171424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2173290" y="952465"/>
            <a:ext cx="3988621" cy="400095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lIns="91426" tIns="45714" rIns="91426" bIns="45714" rtlCol="0" anchor="ctr">
            <a:noAutofit/>
          </a:bodyPr>
          <a:lstStyle/>
          <a:p>
            <a:pPr algn="ctr"/>
            <a:r>
              <a:rPr lang="ru-RU" sz="1200" b="1" dirty="0" smtClean="0">
                <a:solidFill>
                  <a:srgbClr val="FFFFFF">
                    <a:lumMod val="95000"/>
                  </a:srgbClr>
                </a:solidFill>
              </a:rPr>
              <a:t>Предполагаемая локализация оборудования </a:t>
            </a:r>
            <a:r>
              <a:rPr lang="ru-RU" sz="1200" b="1" dirty="0" err="1" smtClean="0">
                <a:solidFill>
                  <a:srgbClr val="FFFFFF">
                    <a:lumMod val="95000"/>
                  </a:srgbClr>
                </a:solidFill>
              </a:rPr>
              <a:t>запсибнефтехим</a:t>
            </a:r>
            <a:endParaRPr lang="ru-RU" sz="1200" b="1" dirty="0">
              <a:solidFill>
                <a:srgbClr val="FFFFFF">
                  <a:lumMod val="95000"/>
                </a:srgbClr>
              </a:solidFill>
            </a:endParaRPr>
          </a:p>
        </p:txBody>
      </p:sp>
      <p:cxnSp>
        <p:nvCxnSpPr>
          <p:cNvPr id="95" name="Прямая соединительная линия 94"/>
          <p:cNvCxnSpPr/>
          <p:nvPr/>
        </p:nvCxnSpPr>
        <p:spPr bwMode="auto">
          <a:xfrm>
            <a:off x="6209853" y="1029373"/>
            <a:ext cx="1" cy="5371443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7" name="Прямая соединительная линия 96"/>
          <p:cNvCxnSpPr/>
          <p:nvPr/>
        </p:nvCxnSpPr>
        <p:spPr bwMode="auto">
          <a:xfrm>
            <a:off x="2116914" y="1029376"/>
            <a:ext cx="0" cy="5371455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9" name="Заголовок 2"/>
          <p:cNvSpPr txBox="1">
            <a:spLocks/>
          </p:cNvSpPr>
          <p:nvPr/>
        </p:nvSpPr>
        <p:spPr>
          <a:xfrm>
            <a:off x="392724" y="188680"/>
            <a:ext cx="8485988" cy="759493"/>
          </a:xfrm>
          <a:prstGeom prst="rect">
            <a:avLst/>
          </a:prstGeom>
          <a:noFill/>
        </p:spPr>
        <p:txBody>
          <a:bodyPr lIns="87290" tIns="43644" rIns="87290" bIns="43644"/>
          <a:lstStyle>
            <a:lvl1pPr algn="l" defTabSz="955292" rtl="0" eaLnBrk="0" fontAlgn="base" hangingPunct="0">
              <a:spcBef>
                <a:spcPct val="0"/>
              </a:spcBef>
              <a:spcAft>
                <a:spcPct val="0"/>
              </a:spcAft>
              <a:defRPr kumimoji="0" lang="ru-RU" sz="18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  <a:lvl2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2pPr>
            <a:lvl3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3pPr>
            <a:lvl4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4pPr>
            <a:lvl5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5pPr>
            <a:lvl6pPr marL="436016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6pPr>
            <a:lvl7pPr marL="872029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7pPr>
            <a:lvl8pPr marL="1308043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8pPr>
            <a:lvl9pPr marL="1744064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ru-RU" dirty="0"/>
              <a:t>ЗАПСИБНЕФТЕХИМ КАК ПРИМЕР </a:t>
            </a:r>
            <a:r>
              <a:rPr lang="ru-RU" dirty="0" smtClean="0"/>
              <a:t>НЕОБХОДИМОСТИ ЛОКАЛИЗАЦИИ</a:t>
            </a:r>
            <a:endParaRPr lang="ru-RU" dirty="0">
              <a:solidFill>
                <a:srgbClr val="008080"/>
              </a:solidFill>
            </a:endParaRPr>
          </a:p>
        </p:txBody>
      </p:sp>
      <p:sp>
        <p:nvSpPr>
          <p:cNvPr id="92" name="Номер слайда 2"/>
          <p:cNvSpPr txBox="1">
            <a:spLocks/>
          </p:cNvSpPr>
          <p:nvPr/>
        </p:nvSpPr>
        <p:spPr bwMode="auto">
          <a:xfrm>
            <a:off x="8878712" y="6400851"/>
            <a:ext cx="807156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07944" tIns="53971" rIns="107944" bIns="53971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ctr" defTabSz="914262" rtl="0" eaLnBrk="1" latinLnBrk="0" hangingPunct="1">
              <a:spcBef>
                <a:spcPct val="0"/>
              </a:spcBef>
              <a:defRPr sz="1500" b="1" i="1" kern="1200">
                <a:solidFill>
                  <a:srgbClr val="008080"/>
                </a:solidFill>
                <a:latin typeface="+mn-lt"/>
                <a:ea typeface="+mn-ea"/>
                <a:cs typeface="+mn-cs"/>
              </a:defRPr>
            </a:lvl1pPr>
            <a:lvl2pPr marL="457130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62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90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20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52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781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11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42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6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2F66D3-618A-4DE9-A68B-80AA82638281}" type="slidenum">
              <a:rPr kumimoji="0" lang="ru-RU" sz="1500" b="1" i="1" u="none" strike="noStrike" kern="1200" cap="none" spc="0" normalizeH="0" baseline="0" noProof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26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r>
              <a:rPr kumimoji="0" lang="ru-RU" sz="1200" b="1" i="1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ru-RU" sz="1200" b="1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700064" y="6390853"/>
            <a:ext cx="6234675" cy="369320"/>
          </a:xfrm>
          <a:prstGeom prst="rect">
            <a:avLst/>
          </a:prstGeom>
          <a:noFill/>
        </p:spPr>
        <p:txBody>
          <a:bodyPr wrap="square" lIns="91426" tIns="45714" rIns="91426" bIns="45714" rtlCol="0">
            <a:spAutoFit/>
          </a:bodyPr>
          <a:lstStyle/>
          <a:p>
            <a:r>
              <a:rPr lang="ru-RU" sz="900" i="1" dirty="0">
                <a:solidFill>
                  <a:srgbClr val="000000"/>
                </a:solidFill>
              </a:rPr>
              <a:t>Источник: </a:t>
            </a:r>
            <a:r>
              <a:rPr lang="ru-RU" sz="900" i="1" dirty="0" smtClean="0">
                <a:solidFill>
                  <a:srgbClr val="000000"/>
                </a:solidFill>
              </a:rPr>
              <a:t>открытые источники, анализ </a:t>
            </a:r>
            <a:r>
              <a:rPr lang="ru-RU" sz="900" i="1" dirty="0" err="1" smtClean="0">
                <a:solidFill>
                  <a:srgbClr val="000000"/>
                </a:solidFill>
              </a:rPr>
              <a:t>СИБУРа</a:t>
            </a:r>
            <a:endParaRPr lang="ru-RU" sz="900" i="1" dirty="0" smtClean="0">
              <a:solidFill>
                <a:srgbClr val="000000"/>
              </a:solidFill>
            </a:endParaRPr>
          </a:p>
          <a:p>
            <a:r>
              <a:rPr lang="ru-RU" sz="900" i="1" dirty="0">
                <a:solidFill>
                  <a:srgbClr val="000000"/>
                </a:solidFill>
              </a:rPr>
              <a:t>* без НДС. Включая финансирование стадии </a:t>
            </a:r>
            <a:r>
              <a:rPr lang="en-US" sz="900" i="1" dirty="0">
                <a:solidFill>
                  <a:srgbClr val="000000"/>
                </a:solidFill>
              </a:rPr>
              <a:t>FEED</a:t>
            </a:r>
            <a:r>
              <a:rPr lang="ru-RU" sz="900" i="1" dirty="0">
                <a:solidFill>
                  <a:srgbClr val="000000"/>
                </a:solidFill>
              </a:rPr>
              <a:t> и уже понесенные расходы</a:t>
            </a:r>
          </a:p>
        </p:txBody>
      </p:sp>
      <p:pic>
        <p:nvPicPr>
          <p:cNvPr id="13434" name="Picture 12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003" y="3701664"/>
            <a:ext cx="1845699" cy="2677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8021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9918494"/>
              </p:ext>
            </p:extLst>
          </p:nvPr>
        </p:nvGraphicFramePr>
        <p:xfrm>
          <a:off x="1744" y="1589"/>
          <a:ext cx="171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44" y="1589"/>
                        <a:ext cx="171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56535" y="1247098"/>
            <a:ext cx="4340451" cy="26159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lIns="91426" tIns="45714" rIns="91426" bIns="45714" rtlCol="0" anchor="ctr">
            <a:spAutoFit/>
          </a:bodyPr>
          <a:lstStyle/>
          <a:p>
            <a:pPr algn="ctr"/>
            <a:r>
              <a:rPr lang="ru-RU" sz="1100" b="1" dirty="0">
                <a:solidFill>
                  <a:schemeClr val="bg1"/>
                </a:solidFill>
              </a:rPr>
              <a:t>Не может быть локализовано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6535" y="3835211"/>
            <a:ext cx="4340451" cy="26159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lIns="91426" tIns="45714" rIns="91426" bIns="45714" rtlCol="0" anchor="ctr">
            <a:spAutoFit/>
          </a:bodyPr>
          <a:lstStyle/>
          <a:p>
            <a:pPr algn="ctr"/>
            <a:r>
              <a:rPr lang="ru-RU" sz="1100" b="1" dirty="0">
                <a:solidFill>
                  <a:schemeClr val="bg1"/>
                </a:solidFill>
              </a:rPr>
              <a:t>Может быть локализовано при определенных условиях</a:t>
            </a:r>
          </a:p>
        </p:txBody>
      </p:sp>
      <p:sp>
        <p:nvSpPr>
          <p:cNvPr id="8" name="Пятиугольник 7"/>
          <p:cNvSpPr/>
          <p:nvPr/>
        </p:nvSpPr>
        <p:spPr bwMode="auto">
          <a:xfrm>
            <a:off x="4854503" y="1250923"/>
            <a:ext cx="234026" cy="1962075"/>
          </a:xfrm>
          <a:prstGeom prst="homePlate">
            <a:avLst>
              <a:gd name="adj" fmla="val 100000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6" tIns="45714" rIns="91426" bIns="45714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 i="1">
              <a:latin typeface="Arial" charset="0"/>
            </a:endParaRPr>
          </a:p>
        </p:txBody>
      </p:sp>
      <p:sp>
        <p:nvSpPr>
          <p:cNvPr id="10" name="Пятиугольник 9"/>
          <p:cNvSpPr/>
          <p:nvPr/>
        </p:nvSpPr>
        <p:spPr bwMode="auto">
          <a:xfrm>
            <a:off x="4854503" y="3840029"/>
            <a:ext cx="234026" cy="2505158"/>
          </a:xfrm>
          <a:prstGeom prst="homePlate">
            <a:avLst>
              <a:gd name="adj" fmla="val 100000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6" tIns="45714" rIns="91426" bIns="45714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 i="1">
              <a:latin typeface="Arial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155304" y="1243924"/>
            <a:ext cx="4612469" cy="26159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lIns="91426" tIns="45714" rIns="91426" bIns="45714" rtlCol="0" anchor="ctr">
            <a:spAutoFit/>
          </a:bodyPr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</a:rPr>
              <a:t>Стимулирование доли локализации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6" name="Блок-схема: узел 15"/>
          <p:cNvSpPr/>
          <p:nvPr/>
        </p:nvSpPr>
        <p:spPr bwMode="auto">
          <a:xfrm>
            <a:off x="350489" y="1106886"/>
            <a:ext cx="468052" cy="144016"/>
          </a:xfrm>
          <a:prstGeom prst="flowChartConnector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6" tIns="45714" rIns="91426" bIns="45714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b="1" i="1">
              <a:latin typeface="Arial" charset="0"/>
            </a:endParaRPr>
          </a:p>
        </p:txBody>
      </p:sp>
      <p:sp>
        <p:nvSpPr>
          <p:cNvPr id="17" name="Блок-схема: узел 16"/>
          <p:cNvSpPr/>
          <p:nvPr/>
        </p:nvSpPr>
        <p:spPr bwMode="auto">
          <a:xfrm>
            <a:off x="306170" y="1245469"/>
            <a:ext cx="273000" cy="252000"/>
          </a:xfrm>
          <a:prstGeom prst="flowChartConnector">
            <a:avLst/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6" tIns="45714" rIns="91426" bIns="45714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i="1" dirty="0">
                <a:latin typeface="Arial" charset="0"/>
              </a:rPr>
              <a:t>1</a:t>
            </a:r>
            <a:endParaRPr lang="ru-RU" sz="1200" b="1" i="1" dirty="0">
              <a:latin typeface="Arial" charset="0"/>
            </a:endParaRPr>
          </a:p>
        </p:txBody>
      </p:sp>
      <p:sp>
        <p:nvSpPr>
          <p:cNvPr id="18" name="Блок-схема: узел 17"/>
          <p:cNvSpPr/>
          <p:nvPr/>
        </p:nvSpPr>
        <p:spPr bwMode="auto">
          <a:xfrm>
            <a:off x="294940" y="3835410"/>
            <a:ext cx="273000" cy="252000"/>
          </a:xfrm>
          <a:prstGeom prst="flowChartConnector">
            <a:avLst/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26" tIns="45714" rIns="91426" bIns="45714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i="1" dirty="0">
                <a:latin typeface="Arial" charset="0"/>
              </a:rPr>
              <a:t>2</a:t>
            </a:r>
            <a:endParaRPr lang="ru-RU" sz="1200" b="1" i="1" dirty="0">
              <a:latin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56535" y="1504828"/>
            <a:ext cx="4340451" cy="170817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91426" tIns="45714" rIns="91426" bIns="45714" rtlCol="0" anchor="ctr">
            <a:noAutofit/>
          </a:bodyPr>
          <a:lstStyle/>
          <a:p>
            <a:pPr marL="171450" indent="-171450" fontAlgn="ctr">
              <a:spcBef>
                <a:spcPts val="18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b="1" dirty="0"/>
              <a:t>Насосно-компрессорное оборудование </a:t>
            </a:r>
            <a:endParaRPr lang="ru-RU" sz="1000" b="1" dirty="0" smtClean="0"/>
          </a:p>
          <a:p>
            <a:pPr marL="171450" indent="-171450" fontAlgn="ctr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b="1" dirty="0" smtClean="0"/>
              <a:t>Емкостное </a:t>
            </a:r>
            <a:r>
              <a:rPr lang="ru-RU" sz="1000" b="1" dirty="0"/>
              <a:t>и теплообменное </a:t>
            </a:r>
            <a:r>
              <a:rPr lang="ru-RU" sz="1000" b="1" dirty="0" smtClean="0"/>
              <a:t>оборудование</a:t>
            </a:r>
          </a:p>
          <a:p>
            <a:pPr marL="171450" indent="-171450" fontAlgn="ctr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b="1" dirty="0" smtClean="0"/>
              <a:t>АСУТП</a:t>
            </a:r>
            <a:r>
              <a:rPr lang="ru-RU" sz="1000" b="1" dirty="0"/>
              <a:t>, </a:t>
            </a:r>
            <a:r>
              <a:rPr lang="ru-RU" sz="1000" b="1" dirty="0" err="1"/>
              <a:t>КИПиА</a:t>
            </a:r>
            <a:r>
              <a:rPr lang="ru-RU" sz="1000" b="1" dirty="0"/>
              <a:t> и автоматика </a:t>
            </a:r>
            <a:endParaRPr lang="ru-RU" sz="1000" b="1" dirty="0" smtClean="0"/>
          </a:p>
          <a:p>
            <a:pPr marL="171450" indent="-171450" fontAlgn="ctr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b="1" dirty="0" smtClean="0"/>
              <a:t>Электрооборудование </a:t>
            </a:r>
            <a:r>
              <a:rPr lang="ru-RU" sz="1000" b="1" dirty="0"/>
              <a:t>и электротехническая </a:t>
            </a:r>
            <a:endParaRPr lang="ru-RU" sz="1000" b="1" dirty="0" smtClean="0"/>
          </a:p>
          <a:p>
            <a:pPr marL="171450" indent="-171450" fontAlgn="ctr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b="1" dirty="0" smtClean="0"/>
              <a:t>Технологическое </a:t>
            </a:r>
            <a:r>
              <a:rPr lang="ru-RU" sz="1000" b="1" dirty="0"/>
              <a:t>оборудование, включая комплексное </a:t>
            </a:r>
            <a:endParaRPr lang="ru-RU" sz="900" b="1" dirty="0" smtClean="0"/>
          </a:p>
        </p:txBody>
      </p:sp>
      <p:sp>
        <p:nvSpPr>
          <p:cNvPr id="29" name="TextBox 28"/>
          <p:cNvSpPr txBox="1"/>
          <p:nvPr/>
        </p:nvSpPr>
        <p:spPr>
          <a:xfrm>
            <a:off x="456535" y="4093519"/>
            <a:ext cx="4340451" cy="225166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91426" tIns="45714" rIns="91426" bIns="45714" rtlCol="0">
            <a:noAutofit/>
          </a:bodyPr>
          <a:lstStyle/>
          <a:p>
            <a:pPr marL="171450" lvl="0" indent="-171450" defTabSz="914400" fontAlgn="ctr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Трубы и металлопрокат </a:t>
            </a:r>
            <a:r>
              <a:rPr lang="ru-RU" sz="900" dirty="0">
                <a:solidFill>
                  <a:srgbClr val="000000"/>
                </a:solidFill>
              </a:rPr>
              <a:t>(</a:t>
            </a: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енциально может закупаться на территории РФ, однако продукция низкого качества; производственных возможностей также недостаточно)</a:t>
            </a:r>
            <a:endParaRPr lang="ru-RU" sz="900" dirty="0">
              <a:solidFill>
                <a:srgbClr val="000000"/>
              </a:solidFill>
            </a:endParaRPr>
          </a:p>
          <a:p>
            <a:pPr marL="171450" lvl="0" indent="-171450" defTabSz="914400" fontAlgn="ctr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</a:rPr>
              <a:t>Кабельно-проводниковая </a:t>
            </a:r>
            <a:r>
              <a:rPr lang="ru-RU" sz="900" b="1" dirty="0">
                <a:solidFill>
                  <a:srgbClr val="000000"/>
                </a:solidFill>
              </a:rPr>
              <a:t>продукция </a:t>
            </a:r>
            <a:r>
              <a:rPr lang="ru-RU" sz="900" dirty="0">
                <a:solidFill>
                  <a:srgbClr val="000000"/>
                </a:solidFill>
              </a:rPr>
              <a:t>(</a:t>
            </a: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а зависимость от импортного сырья)</a:t>
            </a:r>
            <a:endParaRPr lang="ru-RU" sz="900" dirty="0">
              <a:solidFill>
                <a:srgbClr val="000000"/>
              </a:solidFill>
            </a:endParaRPr>
          </a:p>
          <a:p>
            <a:pPr marL="171450" lvl="0" indent="-171450" defTabSz="9144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бопроводная арматура </a:t>
            </a:r>
            <a:r>
              <a:rPr lang="ru-RU" sz="9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могут частично </a:t>
            </a: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аться в РФ, однако есть большая зависимость от импортных </a:t>
            </a:r>
            <a:r>
              <a:rPr lang="ru-RU" sz="9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ектующих)</a:t>
            </a:r>
            <a:endParaRPr lang="ru-RU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 defTabSz="9144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сосно-компрессорное оборудование </a:t>
            </a:r>
            <a:r>
              <a:rPr lang="ru-RU" sz="1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9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ут </a:t>
            </a: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ть частично закуплены в РФ в узкой производственной линейке, при этом объемный показатель производства не сможет удовлетворить потребность внутреннего </a:t>
            </a:r>
            <a:r>
              <a:rPr lang="ru-RU" sz="9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ка)</a:t>
            </a:r>
            <a:endParaRPr lang="ru-RU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 defTabSz="9144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УТП,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ПиА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автоматика </a:t>
            </a:r>
            <a:r>
              <a:rPr lang="ru-RU" sz="9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может </a:t>
            </a:r>
            <a:r>
              <a:rPr lang="ru-RU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тично закупаться в РФ, однако высока зависимость от импортных </a:t>
            </a:r>
            <a:r>
              <a:rPr lang="ru-RU" sz="9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ектующих)</a:t>
            </a:r>
            <a:endParaRPr lang="ru-RU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24" indent="-171424">
              <a:buFont typeface="Arial" panose="020B0604020202020204" pitchFamily="34" charset="0"/>
              <a:buChar char="•"/>
            </a:pPr>
            <a:endParaRPr lang="ru-RU" sz="9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dirty="0"/>
          </a:p>
        </p:txBody>
      </p:sp>
      <p:sp>
        <p:nvSpPr>
          <p:cNvPr id="30" name="Заголовок 2"/>
          <p:cNvSpPr txBox="1">
            <a:spLocks/>
          </p:cNvSpPr>
          <p:nvPr/>
        </p:nvSpPr>
        <p:spPr>
          <a:xfrm>
            <a:off x="392725" y="188680"/>
            <a:ext cx="8006842" cy="759493"/>
          </a:xfrm>
          <a:prstGeom prst="rect">
            <a:avLst/>
          </a:prstGeom>
          <a:noFill/>
        </p:spPr>
        <p:txBody>
          <a:bodyPr lIns="87290" tIns="43644" rIns="87290" bIns="43644"/>
          <a:lstStyle>
            <a:lvl1pPr algn="l" defTabSz="955292" rtl="0" eaLnBrk="0" fontAlgn="base" hangingPunct="0">
              <a:spcBef>
                <a:spcPct val="0"/>
              </a:spcBef>
              <a:spcAft>
                <a:spcPct val="0"/>
              </a:spcAft>
              <a:defRPr kumimoji="0" lang="ru-RU" sz="18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  <a:lvl2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2pPr>
            <a:lvl3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3pPr>
            <a:lvl4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4pPr>
            <a:lvl5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5pPr>
            <a:lvl6pPr marL="436016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6pPr>
            <a:lvl7pPr marL="872029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7pPr>
            <a:lvl8pPr marL="1308043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8pPr>
            <a:lvl9pPr marL="1744064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ru-RU" dirty="0" smtClean="0"/>
              <a:t>СИСТЕМНЫЕ МЕРЫ ГОСУДАРСТВЕННОЙ ПОДДЕРЖКИ ЛОКАЛИЗАЦИИ</a:t>
            </a:r>
            <a:endParaRPr lang="ru-RU" dirty="0"/>
          </a:p>
        </p:txBody>
      </p:sp>
      <p:sp>
        <p:nvSpPr>
          <p:cNvPr id="31" name="Номер слайда 2"/>
          <p:cNvSpPr txBox="1">
            <a:spLocks/>
          </p:cNvSpPr>
          <p:nvPr/>
        </p:nvSpPr>
        <p:spPr bwMode="auto">
          <a:xfrm>
            <a:off x="8878712" y="6400851"/>
            <a:ext cx="807156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07944" tIns="53971" rIns="107944" bIns="53971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ctr" defTabSz="914262" rtl="0" eaLnBrk="1" latinLnBrk="0" hangingPunct="1">
              <a:spcBef>
                <a:spcPct val="0"/>
              </a:spcBef>
              <a:defRPr sz="1500" b="1" i="1" kern="1200">
                <a:solidFill>
                  <a:srgbClr val="008080"/>
                </a:solidFill>
                <a:latin typeface="+mn-lt"/>
                <a:ea typeface="+mn-ea"/>
                <a:cs typeface="+mn-cs"/>
              </a:defRPr>
            </a:lvl1pPr>
            <a:lvl2pPr marL="457130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62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90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20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52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781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11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42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6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2F66D3-618A-4DE9-A68B-80AA82638281}" type="slidenum">
              <a:rPr kumimoji="0" lang="ru-RU" sz="1500" b="1" i="1" u="none" strike="noStrike" kern="1200" cap="none" spc="0" normalizeH="0" baseline="0" noProof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26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r>
              <a:rPr kumimoji="0" lang="ru-RU" sz="1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ru-RU" sz="1200" b="1" i="1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171423" y="1482317"/>
            <a:ext cx="4596423" cy="48628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2800" lvl="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/>
              <a:t>Структурирование </a:t>
            </a:r>
            <a:r>
              <a:rPr lang="ru-RU" sz="1000" b="1" dirty="0"/>
              <a:t>номенклатурных списков</a:t>
            </a:r>
            <a:r>
              <a:rPr lang="ru-RU" sz="1000" dirty="0"/>
              <a:t> импортируемого промышленного оборудования и услуг для обеспечения отраслевого </a:t>
            </a:r>
            <a:r>
              <a:rPr lang="ru-RU" sz="1000" dirty="0" smtClean="0"/>
              <a:t>производства</a:t>
            </a:r>
            <a:endParaRPr lang="ru-RU" sz="1000" dirty="0"/>
          </a:p>
          <a:p>
            <a:pPr marL="172800" lvl="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/>
              <a:t>Формирование короткого </a:t>
            </a:r>
            <a:r>
              <a:rPr lang="ru-RU" sz="1000" b="1" dirty="0"/>
              <a:t>списка / пула машиностроительных и технологических (НИОКР) компаний</a:t>
            </a:r>
            <a:r>
              <a:rPr lang="ru-RU" sz="1000" dirty="0"/>
              <a:t>, организаций и институтов </a:t>
            </a:r>
            <a:r>
              <a:rPr lang="ru-RU" sz="1000" dirty="0" smtClean="0"/>
              <a:t>РФ</a:t>
            </a:r>
            <a:endParaRPr lang="ru-RU" sz="1000" dirty="0"/>
          </a:p>
          <a:p>
            <a:pPr marL="172800" lvl="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/>
              <a:t>Разработка и внедрение </a:t>
            </a:r>
            <a:r>
              <a:rPr lang="ru-RU" sz="1000" b="1" dirty="0"/>
              <a:t>4-сторонних </a:t>
            </a:r>
            <a:r>
              <a:rPr lang="ru-RU" sz="1000" dirty="0"/>
              <a:t>(</a:t>
            </a:r>
            <a:r>
              <a:rPr lang="ru-RU" sz="1000" dirty="0" err="1"/>
              <a:t>ФОИВы</a:t>
            </a:r>
            <a:r>
              <a:rPr lang="ru-RU" sz="1000" dirty="0"/>
              <a:t>, банки развития, промышленные потребители, машиностроительные и технологические компании) отраслевых и </a:t>
            </a:r>
            <a:r>
              <a:rPr lang="ru-RU" sz="1000" dirty="0" err="1"/>
              <a:t>суб</a:t>
            </a:r>
            <a:r>
              <a:rPr lang="ru-RU" sz="1000" dirty="0"/>
              <a:t>-отраслевых </a:t>
            </a:r>
            <a:r>
              <a:rPr lang="ru-RU" sz="1000" b="1" dirty="0"/>
              <a:t>3-5 летних Дорожных карт</a:t>
            </a:r>
            <a:r>
              <a:rPr lang="ru-RU" sz="1000" dirty="0"/>
              <a:t> локализации </a:t>
            </a:r>
            <a:r>
              <a:rPr lang="ru-RU" sz="1000" dirty="0" smtClean="0"/>
              <a:t>производства</a:t>
            </a:r>
            <a:endParaRPr lang="ru-RU" sz="1000" dirty="0"/>
          </a:p>
          <a:p>
            <a:pPr marL="17280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/>
              <a:t>Совершенствование механизмов и инструментов развития </a:t>
            </a:r>
            <a:r>
              <a:rPr lang="ru-RU" sz="1000" b="1" dirty="0"/>
              <a:t>отраслевых информационных и аналитических баз </a:t>
            </a:r>
            <a:r>
              <a:rPr lang="ru-RU" sz="1000" b="1" dirty="0" smtClean="0"/>
              <a:t>данных</a:t>
            </a:r>
            <a:endParaRPr lang="ru-RU" sz="1000" b="1" dirty="0"/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/>
              <a:t>Обеспечение заемных ресурсов на конкурентных условиях (</a:t>
            </a:r>
            <a:r>
              <a:rPr lang="ru-RU" sz="1000" b="1" dirty="0"/>
              <a:t>«денег развития»</a:t>
            </a:r>
            <a:r>
              <a:rPr lang="ru-RU" sz="1000" dirty="0"/>
              <a:t>) российских банков (прежде всего с государственным участием) для реализации проектов отраслевой модернизации и нового строительства </a:t>
            </a:r>
            <a:endParaRPr lang="ru-RU" sz="1000" dirty="0" smtClean="0"/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 smtClean="0"/>
              <a:t>Совершенствование</a:t>
            </a:r>
            <a:r>
              <a:rPr lang="ru-RU" sz="1000" dirty="0"/>
              <a:t>, упрощение и ускорение </a:t>
            </a:r>
            <a:r>
              <a:rPr lang="ru-RU" sz="1000" b="1" dirty="0"/>
              <a:t>мер и инструментов государственного регулирования </a:t>
            </a:r>
            <a:r>
              <a:rPr lang="ru-RU" sz="1000" dirty="0"/>
              <a:t>в области сертификации, экспертизы и </a:t>
            </a:r>
            <a:r>
              <a:rPr lang="ru-RU" sz="1000" dirty="0" smtClean="0"/>
              <a:t>допуска оборудования и услуг</a:t>
            </a:r>
            <a:endParaRPr lang="ru-RU" sz="1000" dirty="0"/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/>
              <a:t>Меры </a:t>
            </a:r>
            <a:r>
              <a:rPr lang="ru-RU" sz="1000" b="1" dirty="0"/>
              <a:t>государственной поддержки</a:t>
            </a:r>
            <a:r>
              <a:rPr lang="ru-RU" sz="1000" dirty="0"/>
              <a:t> для программ и мероприятий компаний по </a:t>
            </a:r>
            <a:r>
              <a:rPr lang="ru-RU" sz="1000" b="1" dirty="0"/>
              <a:t>упреждающим закупкам </a:t>
            </a:r>
            <a:r>
              <a:rPr lang="ru-RU" sz="1000" dirty="0"/>
              <a:t>и хранению расходных материалов, запчастей, рем комплектов и аналогичных </a:t>
            </a:r>
            <a:r>
              <a:rPr lang="ru-RU" sz="1000" dirty="0" smtClean="0"/>
              <a:t>изделий</a:t>
            </a:r>
            <a:endParaRPr lang="ru-RU" sz="1000" dirty="0"/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/>
              <a:t>Детальный анализ </a:t>
            </a:r>
            <a:r>
              <a:rPr lang="ru-RU" sz="1000" b="1" dirty="0"/>
              <a:t>международного опыта мер господдержки </a:t>
            </a:r>
            <a:r>
              <a:rPr lang="ru-RU" sz="1000" dirty="0"/>
              <a:t>и стимулирования </a:t>
            </a:r>
            <a:r>
              <a:rPr lang="ru-RU" sz="1000" dirty="0" err="1"/>
              <a:t>импортозамещения</a:t>
            </a:r>
            <a:r>
              <a:rPr lang="ru-RU" sz="1000" dirty="0"/>
              <a:t> и локализации промышленного производства </a:t>
            </a: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5155304" y="1245473"/>
            <a:ext cx="4612469" cy="5099714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688257" y="6391326"/>
            <a:ext cx="165618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i="1" dirty="0" smtClean="0"/>
              <a:t>Источник: анализ </a:t>
            </a:r>
            <a:r>
              <a:rPr lang="ru-RU" sz="900" i="1" dirty="0" err="1" smtClean="0"/>
              <a:t>Сибура</a:t>
            </a:r>
            <a:endParaRPr lang="ru-RU" sz="900" i="1" dirty="0"/>
          </a:p>
        </p:txBody>
      </p:sp>
    </p:spTree>
    <p:extLst>
      <p:ext uri="{BB962C8B-B14F-4D97-AF65-F5344CB8AC3E}">
        <p14:creationId xmlns:p14="http://schemas.microsoft.com/office/powerpoint/2010/main" val="1545745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7341831"/>
              </p:ext>
            </p:extLst>
          </p:nvPr>
        </p:nvGraphicFramePr>
        <p:xfrm>
          <a:off x="1782" y="1654"/>
          <a:ext cx="1719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5" name="think-cell Slide" r:id="rId75" imgW="270" imgH="270" progId="TCLayout.ActiveDocument.1">
                  <p:embed/>
                </p:oleObj>
              </mc:Choice>
              <mc:Fallback>
                <p:oleObj name="think-cell Slide" r:id="rId7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782" y="1654"/>
                        <a:ext cx="1719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" name="Прямоугольник 1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ru-RU" sz="9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7" name="Заголовок 2"/>
          <p:cNvSpPr txBox="1">
            <a:spLocks/>
          </p:cNvSpPr>
          <p:nvPr/>
        </p:nvSpPr>
        <p:spPr>
          <a:xfrm>
            <a:off x="392725" y="188680"/>
            <a:ext cx="8006842" cy="759493"/>
          </a:xfrm>
          <a:prstGeom prst="rect">
            <a:avLst/>
          </a:prstGeom>
          <a:noFill/>
        </p:spPr>
        <p:txBody>
          <a:bodyPr lIns="87290" tIns="43644" rIns="87290" bIns="43644"/>
          <a:lstStyle>
            <a:lvl1pPr algn="l" defTabSz="955292" rtl="0" eaLnBrk="0" fontAlgn="base" hangingPunct="0">
              <a:spcBef>
                <a:spcPct val="0"/>
              </a:spcBef>
              <a:spcAft>
                <a:spcPct val="0"/>
              </a:spcAft>
              <a:defRPr kumimoji="0" lang="ru-RU" sz="18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  <a:lvl2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2pPr>
            <a:lvl3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3pPr>
            <a:lvl4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4pPr>
            <a:lvl5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5pPr>
            <a:lvl6pPr marL="436016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6pPr>
            <a:lvl7pPr marL="872029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7pPr>
            <a:lvl8pPr marL="1308043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8pPr>
            <a:lvl9pPr marL="1744064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ru-RU" dirty="0" smtClean="0"/>
              <a:t>ПОТРЕБЛЕНИЕ ПОЛИМЕРОВ В РАЗВИТЫХ СТРАНАХ УКАЗЫВАЕТ НА </a:t>
            </a:r>
            <a:r>
              <a:rPr lang="ru-RU" dirty="0"/>
              <a:t>СУЩЕСТВУЮЩИЙ ПОТЕНЦИАЛ </a:t>
            </a:r>
            <a:r>
              <a:rPr lang="ru-RU" dirty="0" smtClean="0"/>
              <a:t>РОСТА СПРОСА НА НЕФТЕХИМИЮ В РФ,… </a:t>
            </a:r>
            <a:endParaRPr lang="ru-RU" dirty="0">
              <a:solidFill>
                <a:srgbClr val="008080"/>
              </a:solidFill>
            </a:endParaRPr>
          </a:p>
        </p:txBody>
      </p:sp>
      <p:sp>
        <p:nvSpPr>
          <p:cNvPr id="76" name="Rectangle 62"/>
          <p:cNvSpPr>
            <a:spLocks noChangeArrowheads="1"/>
          </p:cNvSpPr>
          <p:nvPr/>
        </p:nvSpPr>
        <p:spPr bwMode="auto">
          <a:xfrm>
            <a:off x="474663" y="1266825"/>
            <a:ext cx="4478338" cy="33855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altLang="ru-RU" sz="1100" b="1" u="none" dirty="0">
                <a:solidFill>
                  <a:schemeClr val="bg1"/>
                </a:solidFill>
              </a:rPr>
              <a:t>Уровень применения полимеров</a:t>
            </a:r>
            <a:br>
              <a:rPr lang="ru-RU" altLang="ru-RU" sz="1100" b="1" u="none" dirty="0">
                <a:solidFill>
                  <a:schemeClr val="bg1"/>
                </a:solidFill>
              </a:rPr>
            </a:br>
            <a:r>
              <a:rPr lang="ru-RU" altLang="ru-RU" sz="1100" b="1" u="none" dirty="0">
                <a:solidFill>
                  <a:schemeClr val="bg1"/>
                </a:solidFill>
              </a:rPr>
              <a:t>для теплоизоляции в различных </a:t>
            </a:r>
            <a:r>
              <a:rPr lang="ru-RU" altLang="ru-RU" sz="1100" b="1" u="none" dirty="0" smtClean="0">
                <a:solidFill>
                  <a:schemeClr val="bg1"/>
                </a:solidFill>
              </a:rPr>
              <a:t>странах</a:t>
            </a:r>
            <a:endParaRPr lang="ru-RU" altLang="ru-RU" sz="1600" u="none" dirty="0">
              <a:solidFill>
                <a:schemeClr val="bg1"/>
              </a:solidFill>
            </a:endParaRPr>
          </a:p>
        </p:txBody>
      </p:sp>
      <p:sp>
        <p:nvSpPr>
          <p:cNvPr id="106" name="Rectangle 76"/>
          <p:cNvSpPr>
            <a:spLocks noChangeArrowheads="1"/>
          </p:cNvSpPr>
          <p:nvPr/>
        </p:nvSpPr>
        <p:spPr bwMode="auto">
          <a:xfrm>
            <a:off x="1419275" y="6526852"/>
            <a:ext cx="783220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ru-RU" altLang="ru-RU" sz="900" b="0" i="1" u="none" dirty="0"/>
              <a:t>Источник: </a:t>
            </a:r>
            <a:r>
              <a:rPr lang="ru-RU" altLang="ru-RU" sz="900" i="1" dirty="0" smtClean="0"/>
              <a:t>Росстат</a:t>
            </a:r>
            <a:r>
              <a:rPr lang="ru-RU" altLang="ru-RU" sz="900" i="1" dirty="0"/>
              <a:t>, </a:t>
            </a:r>
            <a:r>
              <a:rPr lang="en-US" altLang="ru-RU" sz="900" i="1" dirty="0"/>
              <a:t>Dow</a:t>
            </a:r>
            <a:r>
              <a:rPr lang="ru-RU" altLang="ru-RU" sz="900" i="1" dirty="0"/>
              <a:t>, АКПР</a:t>
            </a:r>
            <a:r>
              <a:rPr lang="ru-RU" altLang="ru-RU" sz="900" i="1" dirty="0" smtClean="0"/>
              <a:t>, ФТС</a:t>
            </a:r>
            <a:r>
              <a:rPr lang="ru-RU" altLang="ru-RU" sz="900" i="1" dirty="0"/>
              <a:t>, </a:t>
            </a:r>
            <a:r>
              <a:rPr lang="ru-RU" altLang="ru-RU" sz="900" i="1" dirty="0" err="1"/>
              <a:t>Металлополимер</a:t>
            </a:r>
            <a:r>
              <a:rPr lang="ru-RU" altLang="ru-RU" sz="900" i="1" dirty="0"/>
              <a:t>, отраслевые </a:t>
            </a:r>
            <a:r>
              <a:rPr lang="ru-RU" altLang="ru-RU" sz="900" i="1" dirty="0" smtClean="0"/>
              <a:t>СМИ, </a:t>
            </a:r>
            <a:r>
              <a:rPr lang="en-US" altLang="ru-RU" sz="900" b="0" i="1" u="none" dirty="0" smtClean="0"/>
              <a:t>EURIMA</a:t>
            </a:r>
            <a:r>
              <a:rPr lang="en-US" altLang="ru-RU" sz="900" b="0" i="1" u="none" dirty="0"/>
              <a:t>, </a:t>
            </a:r>
            <a:r>
              <a:rPr lang="ru-RU" altLang="ru-RU" sz="900" b="0" i="1" u="none" dirty="0"/>
              <a:t>НПП «Технологии </a:t>
            </a:r>
            <a:r>
              <a:rPr lang="ru-RU" altLang="ru-RU" sz="900" b="0" i="1" u="none" dirty="0" err="1"/>
              <a:t>Эластомерных</a:t>
            </a:r>
            <a:r>
              <a:rPr lang="ru-RU" altLang="ru-RU" sz="900" b="0" i="1" u="none" dirty="0"/>
              <a:t> Композитов</a:t>
            </a:r>
            <a:r>
              <a:rPr lang="ru-RU" altLang="ru-RU" sz="900" b="0" i="1" u="none" dirty="0" smtClean="0"/>
              <a:t>»</a:t>
            </a:r>
          </a:p>
          <a:p>
            <a:r>
              <a:rPr lang="ru-RU" altLang="ru-RU" sz="900" i="1" dirty="0" smtClean="0"/>
              <a:t>* фольгированные, перфорированные</a:t>
            </a:r>
            <a:endParaRPr lang="ru-RU" altLang="ru-RU" sz="900" b="0" i="1" u="none" dirty="0"/>
          </a:p>
        </p:txBody>
      </p:sp>
      <p:graphicFrame>
        <p:nvGraphicFramePr>
          <p:cNvPr id="107" name="Объект 10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53238375"/>
              </p:ext>
            </p:extLst>
          </p:nvPr>
        </p:nvGraphicFramePr>
        <p:xfrm>
          <a:off x="1181103" y="1790700"/>
          <a:ext cx="3533879" cy="17620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6" name="Диаграмма" r:id="rId77" imgW="3533879" imgH="1762020" progId="MSGraph.Chart.8">
                  <p:embed followColorScheme="full"/>
                </p:oleObj>
              </mc:Choice>
              <mc:Fallback>
                <p:oleObj name="Диаграмма" r:id="rId77" imgW="3533879" imgH="17620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1181103" y="1790700"/>
                        <a:ext cx="3533879" cy="17620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7" name="Прямоугольник 116"/>
          <p:cNvSpPr/>
          <p:nvPr>
            <p:custDataLst>
              <p:tags r:id="rId5"/>
            </p:custDataLst>
          </p:nvPr>
        </p:nvSpPr>
        <p:spPr bwMode="auto">
          <a:xfrm>
            <a:off x="922338" y="2303469"/>
            <a:ext cx="263525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D67EB2B7-B6B9-4FFB-8FE4-9587C4C482FB}" type="datetime'''''''''''''''''''''С''Ш''''''''''''''''А'''''''''''''">
              <a:rPr lang="en-US" sz="900">
                <a:latin typeface="Arial"/>
                <a:sym typeface="Arial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США</a:t>
            </a:fld>
            <a:endParaRPr lang="ru-RU" sz="9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23" name="Прямоугольник 122"/>
          <p:cNvSpPr/>
          <p:nvPr>
            <p:custDataLst>
              <p:tags r:id="rId6"/>
            </p:custDataLst>
          </p:nvPr>
        </p:nvSpPr>
        <p:spPr bwMode="gray">
          <a:xfrm>
            <a:off x="4073525" y="2303469"/>
            <a:ext cx="2222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50565092-AAC0-465F-A1D3-523583D57729}" type="datetime'''''''''''''''''''''''''5''''''''''''''''''''''''''0''''0'''">
              <a:rPr lang="en-US" sz="900">
                <a:latin typeface="Arial"/>
                <a:sym typeface="Arial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500</a:t>
            </a:fld>
            <a:endParaRPr lang="ru-RU" sz="9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33" name="Прямоугольник 132"/>
          <p:cNvSpPr/>
          <p:nvPr>
            <p:custDataLst>
              <p:tags r:id="rId7"/>
            </p:custDataLst>
          </p:nvPr>
        </p:nvSpPr>
        <p:spPr bwMode="gray">
          <a:xfrm>
            <a:off x="1831975" y="2303469"/>
            <a:ext cx="2222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fld id="{1BDF5494-1419-47DD-B604-FEB9905677B6}" type="datetime'''''''''''''''''''''''''24''''''''0'''''''''''">
              <a:rPr lang="en-US" sz="900">
                <a:solidFill>
                  <a:schemeClr val="bg1"/>
                </a:solidFill>
                <a:latin typeface="Arial"/>
                <a:sym typeface="Arial"/>
              </a:rPr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t>240</a:t>
            </a:fld>
            <a:endParaRPr lang="ru-RU" sz="9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Arial"/>
              <a:sym typeface="Arial"/>
            </a:endParaRPr>
          </a:p>
        </p:txBody>
      </p:sp>
      <p:sp>
        <p:nvSpPr>
          <p:cNvPr id="116" name="Прямоугольник 115"/>
          <p:cNvSpPr/>
          <p:nvPr>
            <p:custDataLst>
              <p:tags r:id="rId8"/>
            </p:custDataLst>
          </p:nvPr>
        </p:nvSpPr>
        <p:spPr bwMode="auto">
          <a:xfrm>
            <a:off x="766765" y="1993900"/>
            <a:ext cx="419101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57EACEBC-4E7F-4E75-829D-99DE5ED6AFEB}" type="datetime'''''''''''''''Ш''в''''''''''е''ц''''''''''''и''''я'''''">
              <a:rPr lang="en-US" sz="900">
                <a:latin typeface="Arial"/>
                <a:sym typeface="Arial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Швеция</a:t>
            </a:fld>
            <a:endParaRPr lang="ru-RU" sz="9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21" name="Прямоугольник 120"/>
          <p:cNvSpPr/>
          <p:nvPr>
            <p:custDataLst>
              <p:tags r:id="rId9"/>
            </p:custDataLst>
          </p:nvPr>
        </p:nvSpPr>
        <p:spPr bwMode="gray">
          <a:xfrm>
            <a:off x="4625975" y="1993900"/>
            <a:ext cx="2222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A386A9A7-8EA7-426F-885A-65271E27C024}" type="datetime'''''''''6''''''''''0''''''''''''''''''''''''''''''''0'">
              <a:rPr lang="en-US" sz="900"/>
              <a:pPr/>
              <a:t>600</a:t>
            </a:fld>
            <a:endParaRPr lang="ru-RU" sz="9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32" name="Прямоугольник 131"/>
          <p:cNvSpPr/>
          <p:nvPr>
            <p:custDataLst>
              <p:tags r:id="rId10"/>
            </p:custDataLst>
          </p:nvPr>
        </p:nvSpPr>
        <p:spPr bwMode="gray">
          <a:xfrm>
            <a:off x="1831975" y="1993900"/>
            <a:ext cx="2222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fld id="{30B600CD-FEA2-497B-865E-F392050255C1}" type="datetime'''''''''''''''''''''''''''''''''2''''''4''''''''''''''''''0'''">
              <a:rPr lang="en-US" sz="900">
                <a:solidFill>
                  <a:schemeClr val="bg1"/>
                </a:solidFill>
                <a:latin typeface="Arial"/>
                <a:sym typeface="Arial"/>
              </a:rPr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t>240</a:t>
            </a:fld>
            <a:endParaRPr lang="ru-RU" sz="9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Arial"/>
              <a:sym typeface="Arial"/>
            </a:endParaRPr>
          </a:p>
        </p:txBody>
      </p:sp>
      <p:sp>
        <p:nvSpPr>
          <p:cNvPr id="120" name="Прямоугольник 119"/>
          <p:cNvSpPr/>
          <p:nvPr>
            <p:custDataLst>
              <p:tags r:id="rId11"/>
            </p:custDataLst>
          </p:nvPr>
        </p:nvSpPr>
        <p:spPr bwMode="auto">
          <a:xfrm>
            <a:off x="806453" y="3232156"/>
            <a:ext cx="379413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3F788B1D-7A67-4A8A-A72F-3C2B8F8FDB94}" type="datetime'''''''Р''''''''о''''''''сс''''''''''ия'">
              <a:rPr lang="en-US" sz="900">
                <a:latin typeface="Arial"/>
                <a:sym typeface="Arial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Россия</a:t>
            </a:fld>
            <a:endParaRPr lang="ru-RU" sz="9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29" name="Прямоугольник 128"/>
          <p:cNvSpPr/>
          <p:nvPr>
            <p:custDataLst>
              <p:tags r:id="rId12"/>
            </p:custDataLst>
          </p:nvPr>
        </p:nvSpPr>
        <p:spPr bwMode="gray">
          <a:xfrm>
            <a:off x="1577976" y="3232156"/>
            <a:ext cx="1587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2E38F164-8E22-45E9-BC0D-CA9555911260}" type="datetime'''''''''''''5''''''''''''''0'''''''''''">
              <a:rPr lang="en-US" sz="900">
                <a:latin typeface="Arial"/>
                <a:sym typeface="Arial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ru-RU" sz="9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36" name="Прямоугольник 135"/>
          <p:cNvSpPr/>
          <p:nvPr>
            <p:custDataLst>
              <p:tags r:id="rId13"/>
            </p:custDataLst>
          </p:nvPr>
        </p:nvSpPr>
        <p:spPr bwMode="gray">
          <a:xfrm>
            <a:off x="1306513" y="3232156"/>
            <a:ext cx="1587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fld id="{75A140DA-DAE2-4888-907F-FCA9FC333471}" type="datetime'''''4''''''''''''''''''''''''''''''''''''''''''''0'''''''''''">
              <a:rPr lang="en-US" sz="900">
                <a:solidFill>
                  <a:schemeClr val="bg1"/>
                </a:solidFill>
                <a:latin typeface="Arial"/>
                <a:sym typeface="Arial"/>
              </a:rPr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lang="ru-RU" sz="9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Arial"/>
              <a:sym typeface="Arial"/>
            </a:endParaRPr>
          </a:p>
        </p:txBody>
      </p:sp>
      <p:sp>
        <p:nvSpPr>
          <p:cNvPr id="119" name="Прямоугольник 118"/>
          <p:cNvSpPr/>
          <p:nvPr>
            <p:custDataLst>
              <p:tags r:id="rId14"/>
            </p:custDataLst>
          </p:nvPr>
        </p:nvSpPr>
        <p:spPr bwMode="auto">
          <a:xfrm>
            <a:off x="788988" y="2922594"/>
            <a:ext cx="396875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741A61E3-30A2-41E3-A437-76407C0A1256}" type="datetime'''''''''''Я''''''''''''по''''''''''''ни''я'''''''''''''''''''">
              <a:rPr lang="en-US" sz="900">
                <a:latin typeface="Arial"/>
                <a:sym typeface="Arial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Япония</a:t>
            </a:fld>
            <a:endParaRPr lang="ru-RU" sz="9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27" name="Прямоугольник 126"/>
          <p:cNvSpPr/>
          <p:nvPr>
            <p:custDataLst>
              <p:tags r:id="rId15"/>
            </p:custDataLst>
          </p:nvPr>
        </p:nvSpPr>
        <p:spPr bwMode="gray">
          <a:xfrm>
            <a:off x="3244850" y="2922594"/>
            <a:ext cx="2222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D9117BB9-A704-48D8-8E8C-18AE11519C22}" type="datetime'''''''''3''''''''''5''''''''0'''''''''''''''">
              <a:rPr lang="en-US" sz="900">
                <a:latin typeface="Arial"/>
                <a:sym typeface="Arial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350</a:t>
            </a:fld>
            <a:endParaRPr lang="ru-RU" sz="9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35" name="Прямоугольник 134"/>
          <p:cNvSpPr/>
          <p:nvPr>
            <p:custDataLst>
              <p:tags r:id="rId16"/>
            </p:custDataLst>
          </p:nvPr>
        </p:nvSpPr>
        <p:spPr bwMode="gray">
          <a:xfrm>
            <a:off x="1717675" y="2922594"/>
            <a:ext cx="2222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fld id="{4A344186-A0B9-4E2B-AEB5-F71AA1BB77A9}" type="datetime'''''''''''''''2''''''''''''''''''''''''''0''0'''''''''''''''''">
              <a:rPr lang="en-US" sz="900">
                <a:solidFill>
                  <a:schemeClr val="bg1"/>
                </a:solidFill>
                <a:latin typeface="Arial"/>
                <a:sym typeface="Arial"/>
              </a:rPr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t>200</a:t>
            </a:fld>
            <a:endParaRPr lang="ru-RU" sz="9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Arial"/>
              <a:sym typeface="Arial"/>
            </a:endParaRPr>
          </a:p>
        </p:txBody>
      </p:sp>
      <p:sp>
        <p:nvSpPr>
          <p:cNvPr id="118" name="Прямоугольник 117"/>
          <p:cNvSpPr/>
          <p:nvPr>
            <p:custDataLst>
              <p:tags r:id="rId17"/>
            </p:custDataLst>
          </p:nvPr>
        </p:nvSpPr>
        <p:spPr bwMode="auto">
          <a:xfrm>
            <a:off x="587376" y="2613031"/>
            <a:ext cx="598488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BD05383D-B063-4BBD-B850-78AC5B73CA03}" type="datetime'''Ф''''''и''''''''''''''''''''н''лянд''''''''''и''я'''''''">
              <a:rPr lang="en-US" sz="900">
                <a:latin typeface="Arial"/>
                <a:sym typeface="Arial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Финляндия</a:t>
            </a:fld>
            <a:endParaRPr lang="ru-RU" sz="9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25" name="Прямоугольник 124"/>
          <p:cNvSpPr/>
          <p:nvPr>
            <p:custDataLst>
              <p:tags r:id="rId18"/>
            </p:custDataLst>
          </p:nvPr>
        </p:nvSpPr>
        <p:spPr bwMode="gray">
          <a:xfrm>
            <a:off x="3625850" y="2613031"/>
            <a:ext cx="2222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BEE25FBE-E558-4592-864D-DC14B4377C5D}" type="datetime'''''''''''''''''''''4''2''''''''''''''''''0'''''''''''''">
              <a:rPr lang="en-US" sz="900">
                <a:latin typeface="Arial"/>
                <a:sym typeface="Arial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420</a:t>
            </a:fld>
            <a:endParaRPr lang="ru-RU" sz="9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34" name="Прямоугольник 133"/>
          <p:cNvSpPr/>
          <p:nvPr>
            <p:custDataLst>
              <p:tags r:id="rId19"/>
            </p:custDataLst>
          </p:nvPr>
        </p:nvSpPr>
        <p:spPr bwMode="gray">
          <a:xfrm>
            <a:off x="1722438" y="2613031"/>
            <a:ext cx="2222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fld id="{F8899748-64C8-4EC8-948D-06387A374C23}" type="datetime'''''''''''2''''''''''''''''''''0''''2'''''''''">
              <a:rPr lang="en-US" sz="900">
                <a:solidFill>
                  <a:schemeClr val="bg1"/>
                </a:solidFill>
                <a:latin typeface="Arial"/>
                <a:sym typeface="Arial"/>
              </a:rPr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t>202</a:t>
            </a:fld>
            <a:endParaRPr lang="ru-RU" sz="9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Arial"/>
              <a:sym typeface="Arial"/>
            </a:endParaRPr>
          </a:p>
        </p:txBody>
      </p:sp>
      <p:sp>
        <p:nvSpPr>
          <p:cNvPr id="140" name="Прямоугольник 139"/>
          <p:cNvSpPr/>
          <p:nvPr>
            <p:custDataLst>
              <p:tags r:id="rId20"/>
            </p:custDataLst>
          </p:nvPr>
        </p:nvSpPr>
        <p:spPr bwMode="auto">
          <a:xfrm>
            <a:off x="2743200" y="1695450"/>
            <a:ext cx="160338" cy="120650"/>
          </a:xfrm>
          <a:prstGeom prst="rect">
            <a:avLst/>
          </a:prstGeom>
          <a:solidFill>
            <a:srgbClr val="99CC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9" name="Прямоугольник 138"/>
          <p:cNvSpPr/>
          <p:nvPr>
            <p:custDataLst>
              <p:tags r:id="rId21"/>
            </p:custDataLst>
          </p:nvPr>
        </p:nvSpPr>
        <p:spPr bwMode="auto">
          <a:xfrm>
            <a:off x="1836738" y="1695450"/>
            <a:ext cx="160338" cy="1206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7" name="Прямоугольник 136"/>
          <p:cNvSpPr/>
          <p:nvPr>
            <p:custDataLst>
              <p:tags r:id="rId22"/>
            </p:custDataLst>
          </p:nvPr>
        </p:nvSpPr>
        <p:spPr bwMode="auto">
          <a:xfrm>
            <a:off x="2954341" y="1692278"/>
            <a:ext cx="544513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668D4869-E453-4BDC-9C63-2D322E4C089A}" type="datetime'п''''''''''ол''и''''''''м''''''е''''''р''''''''''''''''''ы'">
              <a:rPr lang="en-US" sz="900"/>
              <a:pPr/>
              <a:t>полимеры</a:t>
            </a:fld>
            <a:endParaRPr lang="ru-RU" sz="9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38" name="Прямоугольник 137"/>
          <p:cNvSpPr/>
          <p:nvPr>
            <p:custDataLst>
              <p:tags r:id="rId23"/>
            </p:custDataLst>
          </p:nvPr>
        </p:nvSpPr>
        <p:spPr bwMode="auto">
          <a:xfrm>
            <a:off x="2047876" y="1692278"/>
            <a:ext cx="593725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5B084342-249E-4CCB-B012-8072BB0CD6D4}" type="datetime'''с''''''''''''тек''''''''''л''о''''''''''''''''''''в''ата'''">
              <a:rPr lang="en-US" sz="900">
                <a:latin typeface="Arial"/>
                <a:sym typeface="Arial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стекловата</a:t>
            </a:fld>
            <a:endParaRPr lang="ru-RU" sz="900" strike="noStrike" cap="none" normalizeH="0" dirty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41" name="Прямоугольник 140"/>
          <p:cNvSpPr/>
          <p:nvPr/>
        </p:nvSpPr>
        <p:spPr bwMode="auto">
          <a:xfrm>
            <a:off x="474663" y="1266831"/>
            <a:ext cx="4478338" cy="2282949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2" name="Прямоугольник 141"/>
          <p:cNvSpPr/>
          <p:nvPr/>
        </p:nvSpPr>
        <p:spPr>
          <a:xfrm>
            <a:off x="525466" y="1604963"/>
            <a:ext cx="75854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 smtClean="0">
                <a:sym typeface="Arial"/>
              </a:rPr>
              <a:t>м</a:t>
            </a:r>
            <a:r>
              <a:rPr lang="ru-RU" sz="900" baseline="30000" dirty="0" smtClean="0">
                <a:sym typeface="Arial"/>
              </a:rPr>
              <a:t>2</a:t>
            </a:r>
            <a:r>
              <a:rPr lang="ru-RU" sz="900" dirty="0" smtClean="0">
                <a:sym typeface="Arial"/>
              </a:rPr>
              <a:t>/</a:t>
            </a:r>
            <a:r>
              <a:rPr lang="ru-RU" sz="900" dirty="0" err="1" smtClean="0">
                <a:sym typeface="Arial"/>
              </a:rPr>
              <a:t>тыс.чел</a:t>
            </a:r>
            <a:endParaRPr lang="ru-RU" sz="900" baseline="30000" dirty="0"/>
          </a:p>
        </p:txBody>
      </p:sp>
      <p:sp>
        <p:nvSpPr>
          <p:cNvPr id="143" name="Rectangle 62"/>
          <p:cNvSpPr>
            <a:spLocks noChangeArrowheads="1"/>
          </p:cNvSpPr>
          <p:nvPr/>
        </p:nvSpPr>
        <p:spPr bwMode="auto">
          <a:xfrm>
            <a:off x="466725" y="3716357"/>
            <a:ext cx="4486276" cy="24824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ru-RU" altLang="ru-RU" sz="1100" b="1" dirty="0">
                <a:solidFill>
                  <a:schemeClr val="bg1"/>
                </a:solidFill>
              </a:rPr>
              <a:t>Полимерные трубы в РФ</a:t>
            </a:r>
          </a:p>
        </p:txBody>
      </p:sp>
      <p:sp>
        <p:nvSpPr>
          <p:cNvPr id="144" name="Прямоугольник 143"/>
          <p:cNvSpPr/>
          <p:nvPr/>
        </p:nvSpPr>
        <p:spPr bwMode="auto">
          <a:xfrm>
            <a:off x="466725" y="3739078"/>
            <a:ext cx="4486276" cy="2637961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145" name="Объект 144"/>
          <p:cNvGraphicFramePr>
            <a:graphicFrameLocks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165947165"/>
              </p:ext>
            </p:extLst>
          </p:nvPr>
        </p:nvGraphicFramePr>
        <p:xfrm>
          <a:off x="419103" y="4724400"/>
          <a:ext cx="1762077" cy="1733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7" name="Диаграмма" r:id="rId79" imgW="1762077" imgH="1733670" progId="MSGraph.Chart.8">
                  <p:embed followColorScheme="full"/>
                </p:oleObj>
              </mc:Choice>
              <mc:Fallback>
                <p:oleObj name="Диаграмма" r:id="rId79" imgW="1762077" imgH="173367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0"/>
                      <a:stretch>
                        <a:fillRect/>
                      </a:stretch>
                    </p:blipFill>
                    <p:spPr>
                      <a:xfrm>
                        <a:off x="419103" y="4724400"/>
                        <a:ext cx="1762077" cy="1733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Прямоугольник 149"/>
          <p:cNvSpPr/>
          <p:nvPr>
            <p:custDataLst>
              <p:tags r:id="rId25"/>
            </p:custDataLst>
          </p:nvPr>
        </p:nvSpPr>
        <p:spPr bwMode="gray">
          <a:xfrm>
            <a:off x="735015" y="5932488"/>
            <a:ext cx="287338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fld id="{348F472B-C0F5-48F3-A4C2-02A8A78AE75C}" type="datetime'''''''7''''''''''''''''''''5''''''''''''''''''''''''%'''''">
              <a:rPr lang="en-US" sz="1000">
                <a:solidFill>
                  <a:schemeClr val="bg1"/>
                </a:solidFill>
                <a:sym typeface="+mn-lt"/>
              </a:rPr>
              <a:pPr/>
              <a:t>75%</a:t>
            </a:fld>
            <a:endParaRPr lang="ru-RU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sym typeface="+mn-lt"/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26"/>
            </p:custDataLst>
          </p:nvPr>
        </p:nvSpPr>
        <p:spPr bwMode="gray">
          <a:xfrm>
            <a:off x="1590675" y="5076825"/>
            <a:ext cx="287338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fld id="{A291C35C-2DC5-4801-9801-FCA70D820D41}" type="datetime'''''''''''''''''''''2''''5''%'''''''">
              <a:rPr lang="en-US" sz="1000">
                <a:latin typeface="Arial"/>
                <a:sym typeface="Arial"/>
              </a:rPr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t>25%</a:t>
            </a:fld>
            <a:endParaRPr lang="ru-RU" sz="10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55" name="Прямоугольник 154"/>
          <p:cNvSpPr/>
          <p:nvPr>
            <p:custDataLst>
              <p:tags r:id="rId27"/>
            </p:custDataLst>
          </p:nvPr>
        </p:nvSpPr>
        <p:spPr bwMode="auto">
          <a:xfrm>
            <a:off x="1579563" y="4376738"/>
            <a:ext cx="160338" cy="1206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4" name="Прямоугольник 153"/>
          <p:cNvSpPr/>
          <p:nvPr>
            <p:custDataLst>
              <p:tags r:id="rId28"/>
            </p:custDataLst>
          </p:nvPr>
        </p:nvSpPr>
        <p:spPr bwMode="auto">
          <a:xfrm>
            <a:off x="595313" y="4376738"/>
            <a:ext cx="160338" cy="120650"/>
          </a:xfrm>
          <a:prstGeom prst="rect">
            <a:avLst/>
          </a:prstGeom>
          <a:solidFill>
            <a:srgbClr val="99CC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2" name="Прямоугольник 151"/>
          <p:cNvSpPr/>
          <p:nvPr>
            <p:custDataLst>
              <p:tags r:id="rId29"/>
            </p:custDataLst>
          </p:nvPr>
        </p:nvSpPr>
        <p:spPr bwMode="auto">
          <a:xfrm>
            <a:off x="1790703" y="4373569"/>
            <a:ext cx="509588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B81CF22A-4E25-4EEB-AF86-5060832E38D4}" type="datetime'''''ст''''а''л''''ь''''''''''''н''''ы''е'''''''''''''''''">
              <a:rPr lang="en-US" sz="900">
                <a:sym typeface="+mn-lt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стальные</a:t>
            </a:fld>
            <a:endParaRPr lang="ru-RU" sz="900" strike="noStrike" cap="none" normalizeH="0" dirty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153" name="Прямоугольник 152"/>
          <p:cNvSpPr/>
          <p:nvPr>
            <p:custDataLst>
              <p:tags r:id="rId30"/>
            </p:custDataLst>
          </p:nvPr>
        </p:nvSpPr>
        <p:spPr bwMode="auto">
          <a:xfrm>
            <a:off x="806453" y="4373569"/>
            <a:ext cx="671513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84A18EB-2472-41BD-B302-BABAC3604979}" type="datetime'''п''о''''''''''''''л''''''''име''''''''рны''''''''''''е'''''">
              <a:rPr lang="en-US" sz="900">
                <a:sym typeface="+mn-lt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полимерные</a:t>
            </a:fld>
            <a:endParaRPr lang="ru-RU" sz="900" strike="noStrike" cap="none" normalizeH="0" smtClean="0">
              <a:ln>
                <a:noFill/>
              </a:ln>
              <a:effectLst/>
              <a:sym typeface="+mn-lt"/>
            </a:endParaRPr>
          </a:p>
        </p:txBody>
      </p:sp>
      <p:graphicFrame>
        <p:nvGraphicFramePr>
          <p:cNvPr id="156" name="Объект 155"/>
          <p:cNvGraphicFramePr>
            <a:graphicFrameLocks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735424719"/>
              </p:ext>
            </p:extLst>
          </p:nvPr>
        </p:nvGraphicFramePr>
        <p:xfrm>
          <a:off x="2705104" y="4724400"/>
          <a:ext cx="1762077" cy="1733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8" name="Диаграмма" r:id="rId81" imgW="1762077" imgH="1733670" progId="MSGraph.Chart.8">
                  <p:embed followColorScheme="full"/>
                </p:oleObj>
              </mc:Choice>
              <mc:Fallback>
                <p:oleObj name="Диаграмма" r:id="rId81" imgW="1762077" imgH="173367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2"/>
                      <a:stretch>
                        <a:fillRect/>
                      </a:stretch>
                    </p:blipFill>
                    <p:spPr>
                      <a:xfrm>
                        <a:off x="2705104" y="4724400"/>
                        <a:ext cx="1762077" cy="1733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Прямоугольник 16"/>
          <p:cNvSpPr/>
          <p:nvPr>
            <p:custDataLst>
              <p:tags r:id="rId32"/>
            </p:custDataLst>
          </p:nvPr>
        </p:nvSpPr>
        <p:spPr bwMode="gray">
          <a:xfrm>
            <a:off x="3167066" y="4953000"/>
            <a:ext cx="287338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fld id="{E5F0ED4A-630C-4A47-BFAC-03FF3E57F068}" type="datetime'''''''''15''''''''%'''''''''''''''''''''''''''''''''''''''''">
              <a:rPr lang="en-US" sz="1000">
                <a:latin typeface="Arial"/>
                <a:sym typeface="Arial"/>
              </a:rPr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t>15%</a:t>
            </a:fld>
            <a:endParaRPr lang="ru-RU" sz="10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6" name="Прямоугольник 15"/>
          <p:cNvSpPr/>
          <p:nvPr>
            <p:custDataLst>
              <p:tags r:id="rId33"/>
            </p:custDataLst>
          </p:nvPr>
        </p:nvSpPr>
        <p:spPr bwMode="gray">
          <a:xfrm>
            <a:off x="2838453" y="5562600"/>
            <a:ext cx="287338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fld id="{A4547BFC-6484-40D6-B730-D65CBA24E4B6}" type="datetime'''''''''''2''''3''''''%'''''''''''''">
              <a:rPr lang="en-US" sz="1000">
                <a:latin typeface="Arial"/>
                <a:sym typeface="Arial"/>
              </a:rPr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t>23%</a:t>
            </a:fld>
            <a:endParaRPr lang="ru-RU" sz="10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34"/>
            </p:custDataLst>
          </p:nvPr>
        </p:nvSpPr>
        <p:spPr bwMode="gray">
          <a:xfrm>
            <a:off x="3994153" y="5762625"/>
            <a:ext cx="287338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fld id="{F07FA967-7CC3-4C33-A852-994F52A4B9AA}" type="datetime'''''''6''''''''''''''''''''''''''''''''0''''%'''''">
              <a:rPr lang="en-US" sz="1000">
                <a:latin typeface="Arial"/>
                <a:sym typeface="Arial"/>
              </a:rPr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t>60%</a:t>
            </a:fld>
            <a:endParaRPr lang="ru-RU" sz="10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57" name="Прямоугольник 156"/>
          <p:cNvSpPr/>
          <p:nvPr>
            <p:custDataLst>
              <p:tags r:id="rId35"/>
            </p:custDataLst>
          </p:nvPr>
        </p:nvSpPr>
        <p:spPr bwMode="gray">
          <a:xfrm>
            <a:off x="3524250" y="4843463"/>
            <a:ext cx="217488" cy="152400"/>
          </a:xfrm>
          <a:prstGeom prst="rect">
            <a:avLst/>
          </a:prstGeom>
          <a:solidFill>
            <a:srgbClr val="00808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fld id="{BB960CB9-395D-46ED-A25B-DABC8F07A13D}" type="datetime'''2''''''''''''''''%'''''''''''''''''''''''''''''''''''''''''">
              <a:rPr lang="en-US" sz="1000">
                <a:solidFill>
                  <a:schemeClr val="bg1"/>
                </a:solidFill>
                <a:sym typeface="+mn-lt"/>
              </a:rPr>
              <a:pPr/>
              <a:t>2%</a:t>
            </a:fld>
            <a:endParaRPr lang="ru-RU" sz="1000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sym typeface="+mn-lt"/>
            </a:endParaRPr>
          </a:p>
        </p:txBody>
      </p:sp>
      <p:sp>
        <p:nvSpPr>
          <p:cNvPr id="181" name="Прямоугольник 180"/>
          <p:cNvSpPr/>
          <p:nvPr>
            <p:custDataLst>
              <p:tags r:id="rId36"/>
            </p:custDataLst>
          </p:nvPr>
        </p:nvSpPr>
        <p:spPr bwMode="auto">
          <a:xfrm>
            <a:off x="4081463" y="4564063"/>
            <a:ext cx="160338" cy="12065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8" name="Прямоугольник 177"/>
          <p:cNvSpPr/>
          <p:nvPr>
            <p:custDataLst>
              <p:tags r:id="rId37"/>
            </p:custDataLst>
          </p:nvPr>
        </p:nvSpPr>
        <p:spPr bwMode="auto">
          <a:xfrm>
            <a:off x="4081463" y="4376738"/>
            <a:ext cx="160338" cy="120650"/>
          </a:xfrm>
          <a:prstGeom prst="rect">
            <a:avLst/>
          </a:prstGeom>
          <a:solidFill>
            <a:srgbClr val="B2D2D8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9" name="Прямоугольник 158"/>
          <p:cNvSpPr/>
          <p:nvPr>
            <p:custDataLst>
              <p:tags r:id="rId38"/>
            </p:custDataLst>
          </p:nvPr>
        </p:nvSpPr>
        <p:spPr bwMode="auto">
          <a:xfrm>
            <a:off x="2881313" y="4564063"/>
            <a:ext cx="160338" cy="120650"/>
          </a:xfrm>
          <a:prstGeom prst="rect">
            <a:avLst/>
          </a:prstGeom>
          <a:solidFill>
            <a:srgbClr val="99CC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0" name="Прямоугольник 159"/>
          <p:cNvSpPr/>
          <p:nvPr>
            <p:custDataLst>
              <p:tags r:id="rId39"/>
            </p:custDataLst>
          </p:nvPr>
        </p:nvSpPr>
        <p:spPr bwMode="auto">
          <a:xfrm>
            <a:off x="2881313" y="4376738"/>
            <a:ext cx="160338" cy="120650"/>
          </a:xfrm>
          <a:prstGeom prst="rect">
            <a:avLst/>
          </a:prstGeom>
          <a:solidFill>
            <a:srgbClr val="0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9" name="Прямоугольник 178"/>
          <p:cNvSpPr/>
          <p:nvPr>
            <p:custDataLst>
              <p:tags r:id="rId40"/>
            </p:custDataLst>
          </p:nvPr>
        </p:nvSpPr>
        <p:spPr bwMode="auto">
          <a:xfrm>
            <a:off x="4292603" y="4560894"/>
            <a:ext cx="2349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6618CFD5-831A-4073-B13A-868B44AFC465}" type="datetime'''''''''''''''''''''''''''''''''''''''''П''''''В''''Х'''''">
              <a:rPr lang="en-US" sz="900">
                <a:latin typeface="Arial"/>
                <a:sym typeface="Arial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ПВХ</a:t>
            </a:fld>
            <a:endParaRPr lang="ru-RU" sz="9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76" name="Прямоугольник 175"/>
          <p:cNvSpPr/>
          <p:nvPr>
            <p:custDataLst>
              <p:tags r:id="rId41"/>
            </p:custDataLst>
          </p:nvPr>
        </p:nvSpPr>
        <p:spPr bwMode="auto">
          <a:xfrm>
            <a:off x="4292600" y="4373569"/>
            <a:ext cx="165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5A799392-054D-4E3E-A9D9-B10C5FFC4C31}" type="datetime'''ПП'''''''''''''''''''''''''''''''''''''''''''''''''">
              <a:rPr lang="en-US" sz="900">
                <a:latin typeface="Arial"/>
                <a:sym typeface="Arial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ПП</a:t>
            </a:fld>
            <a:endParaRPr lang="ru-RU" sz="9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62" name="Прямоугольник 161"/>
          <p:cNvSpPr/>
          <p:nvPr>
            <p:custDataLst>
              <p:tags r:id="rId42"/>
            </p:custDataLst>
          </p:nvPr>
        </p:nvSpPr>
        <p:spPr bwMode="auto">
          <a:xfrm>
            <a:off x="3092450" y="4560894"/>
            <a:ext cx="165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0A4AD621-7EAA-4CF0-9F34-A924B0EC686F}" type="datetime'''П''''''''''''''''''''''Э'''''''''''''''''''''''''''">
              <a:rPr lang="en-US" sz="900"/>
              <a:pPr/>
              <a:t>ПЭ</a:t>
            </a:fld>
            <a:endParaRPr lang="ru-RU" sz="900" strike="noStrike" cap="none" normalizeH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161" name="Прямоугольник 160"/>
          <p:cNvSpPr/>
          <p:nvPr>
            <p:custDataLst>
              <p:tags r:id="rId43"/>
            </p:custDataLst>
          </p:nvPr>
        </p:nvSpPr>
        <p:spPr bwMode="auto">
          <a:xfrm>
            <a:off x="3092453" y="4373569"/>
            <a:ext cx="887413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850EDB14-56D3-4D78-9F0C-6F5BA52391A5}" type="datetime'''М''''ет''''а''ллоп''л''''а''''''''с''''''''т''''и''''к'">
              <a:rPr lang="en-US" sz="900"/>
              <a:pPr/>
              <a:t>Металлопластик</a:t>
            </a:fld>
            <a:endParaRPr lang="ru-RU" sz="900" strike="noStrike" cap="none" normalizeH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163" name="Прямоугольник 162"/>
          <p:cNvSpPr/>
          <p:nvPr/>
        </p:nvSpPr>
        <p:spPr>
          <a:xfrm>
            <a:off x="520700" y="3964602"/>
            <a:ext cx="19747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ym typeface="Arial"/>
              </a:rPr>
              <a:t>Доля полимерных труб в общем производстве в РФ</a:t>
            </a:r>
            <a:endParaRPr lang="ru-RU" sz="900" b="1" baseline="30000" dirty="0"/>
          </a:p>
        </p:txBody>
      </p:sp>
      <p:sp>
        <p:nvSpPr>
          <p:cNvPr id="164" name="Rectangle 62"/>
          <p:cNvSpPr>
            <a:spLocks noChangeArrowheads="1"/>
          </p:cNvSpPr>
          <p:nvPr/>
        </p:nvSpPr>
        <p:spPr bwMode="auto">
          <a:xfrm>
            <a:off x="5168900" y="3716357"/>
            <a:ext cx="4485600" cy="24824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ru-RU" altLang="ru-RU" sz="1100" b="1" dirty="0">
                <a:solidFill>
                  <a:schemeClr val="bg1"/>
                </a:solidFill>
              </a:rPr>
              <a:t>Полимерные трубы в ЕС</a:t>
            </a:r>
          </a:p>
        </p:txBody>
      </p:sp>
      <p:sp>
        <p:nvSpPr>
          <p:cNvPr id="165" name="Прямоугольник 164"/>
          <p:cNvSpPr/>
          <p:nvPr/>
        </p:nvSpPr>
        <p:spPr bwMode="auto">
          <a:xfrm>
            <a:off x="5168900" y="3716357"/>
            <a:ext cx="4485600" cy="2664342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7" name="Номер слайда 3"/>
          <p:cNvSpPr txBox="1">
            <a:spLocks/>
          </p:cNvSpPr>
          <p:nvPr/>
        </p:nvSpPr>
        <p:spPr bwMode="auto">
          <a:xfrm>
            <a:off x="8878735" y="6400915"/>
            <a:ext cx="807156" cy="3128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07928" tIns="53962" rIns="107928" bIns="53962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ctr" defTabSz="914262" rtl="0" eaLnBrk="1" latinLnBrk="0" hangingPunct="1">
              <a:spcBef>
                <a:spcPct val="0"/>
              </a:spcBef>
              <a:defRPr sz="1500" b="1" i="1" kern="1200">
                <a:solidFill>
                  <a:srgbClr val="008080"/>
                </a:solidFill>
                <a:latin typeface="+mn-lt"/>
                <a:ea typeface="+mn-ea"/>
                <a:cs typeface="+mn-cs"/>
              </a:defRPr>
            </a:lvl1pPr>
            <a:lvl2pPr marL="457130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62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90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20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52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781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11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42" algn="l" defTabSz="91426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6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E21891-C490-4004-85C6-D1C420B5BA6E}" type="slidenum">
              <a:rPr kumimoji="0" lang="ru-RU" altLang="en-US" sz="1500" b="1" i="1" u="none" strike="noStrike" kern="1200" cap="none" spc="0" normalizeH="0" baseline="0" noProof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262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altLang="en-US" sz="1500" b="1" i="1" u="none" strike="noStrike" kern="1200" cap="none" spc="0" normalizeH="0" baseline="0" noProof="0" dirty="0">
              <a:ln>
                <a:noFill/>
              </a:ln>
              <a:solidFill>
                <a:srgbClr val="0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68" name="Объект 167"/>
          <p:cNvGraphicFramePr>
            <a:graphicFrameLocks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2612392885"/>
              </p:ext>
            </p:extLst>
          </p:nvPr>
        </p:nvGraphicFramePr>
        <p:xfrm>
          <a:off x="5143500" y="4724400"/>
          <a:ext cx="1771532" cy="1733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9" name="Диаграмма" r:id="rId83" imgW="1771532" imgH="1733670" progId="MSGraph.Chart.8">
                  <p:embed followColorScheme="full"/>
                </p:oleObj>
              </mc:Choice>
              <mc:Fallback>
                <p:oleObj name="Диаграмма" r:id="rId83" imgW="1771532" imgH="173367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4"/>
                      <a:stretch>
                        <a:fillRect/>
                      </a:stretch>
                    </p:blipFill>
                    <p:spPr>
                      <a:xfrm>
                        <a:off x="5143500" y="4724400"/>
                        <a:ext cx="1771532" cy="1733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Прямоугольник 169"/>
          <p:cNvSpPr/>
          <p:nvPr>
            <p:custDataLst>
              <p:tags r:id="rId45"/>
            </p:custDataLst>
          </p:nvPr>
        </p:nvSpPr>
        <p:spPr bwMode="gray">
          <a:xfrm>
            <a:off x="5286378" y="5557838"/>
            <a:ext cx="287338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fld id="{D6F4AFAD-75BA-4DC6-86E7-6A40F570B7BB}" type="datetime'''5''''''''''''''''''''''''''''''3%'''''''''''''''''''''''''">
              <a:rPr lang="en-US" sz="1000">
                <a:solidFill>
                  <a:schemeClr val="bg1"/>
                </a:solidFill>
                <a:sym typeface="+mn-lt"/>
              </a:rPr>
              <a:pPr/>
              <a:t>53%</a:t>
            </a:fld>
            <a:endParaRPr lang="ru-RU" sz="1000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sym typeface="+mn-lt"/>
            </a:endParaRPr>
          </a:p>
        </p:txBody>
      </p:sp>
      <p:sp>
        <p:nvSpPr>
          <p:cNvPr id="169" name="Прямоугольник 168"/>
          <p:cNvSpPr/>
          <p:nvPr>
            <p:custDataLst>
              <p:tags r:id="rId46"/>
            </p:custDataLst>
          </p:nvPr>
        </p:nvSpPr>
        <p:spPr bwMode="gray">
          <a:xfrm>
            <a:off x="6497641" y="5443538"/>
            <a:ext cx="287338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fld id="{78A47C41-AC2C-476E-BF89-E165431063C6}" type="datetime'''''''''''''''4''''''''''''''''''''''''''''''''''''7%'''">
              <a:rPr lang="en-US" sz="1000">
                <a:sym typeface="+mn-lt"/>
              </a:rPr>
              <a:pPr/>
              <a:t>47%</a:t>
            </a:fld>
            <a:endParaRPr lang="ru-RU" sz="1000" strike="noStrike" cap="none" normalizeH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171" name="Прямоугольник 170"/>
          <p:cNvSpPr/>
          <p:nvPr>
            <p:custDataLst>
              <p:tags r:id="rId47"/>
            </p:custDataLst>
          </p:nvPr>
        </p:nvSpPr>
        <p:spPr bwMode="auto">
          <a:xfrm>
            <a:off x="6297613" y="4376738"/>
            <a:ext cx="160338" cy="1206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2" name="Прямоугольник 171"/>
          <p:cNvSpPr/>
          <p:nvPr>
            <p:custDataLst>
              <p:tags r:id="rId48"/>
            </p:custDataLst>
          </p:nvPr>
        </p:nvSpPr>
        <p:spPr bwMode="auto">
          <a:xfrm>
            <a:off x="5313363" y="4376738"/>
            <a:ext cx="160338" cy="120650"/>
          </a:xfrm>
          <a:prstGeom prst="rect">
            <a:avLst/>
          </a:prstGeom>
          <a:solidFill>
            <a:srgbClr val="99CC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4" name="Прямоугольник 173"/>
          <p:cNvSpPr/>
          <p:nvPr>
            <p:custDataLst>
              <p:tags r:id="rId49"/>
            </p:custDataLst>
          </p:nvPr>
        </p:nvSpPr>
        <p:spPr bwMode="auto">
          <a:xfrm>
            <a:off x="6508753" y="4373569"/>
            <a:ext cx="509588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71EBB24E-F822-4D1A-91BB-CE81B7862660}" type="datetime'с''''та''''л''ь''''''''''''''н''ые'''''''''''''''''''''''''''">
              <a:rPr lang="en-US" sz="900"/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стальные</a:t>
            </a:fld>
            <a:endParaRPr lang="ru-RU" sz="900" strike="noStrike" cap="none" normalizeH="0" dirty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173" name="Прямоугольник 172"/>
          <p:cNvSpPr/>
          <p:nvPr>
            <p:custDataLst>
              <p:tags r:id="rId50"/>
            </p:custDataLst>
          </p:nvPr>
        </p:nvSpPr>
        <p:spPr bwMode="auto">
          <a:xfrm>
            <a:off x="5524503" y="4373569"/>
            <a:ext cx="671513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EDD73C01-E0D3-411E-94D5-DFFA2A160F62}" type="datetime'п''''''''''''''ол''''''''''''''''''''''''''''име''''рны''''е'">
              <a:rPr lang="en-US" sz="900"/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полимерные</a:t>
            </a:fld>
            <a:endParaRPr lang="ru-RU" sz="900" strike="noStrike" cap="none" normalizeH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175" name="Прямоугольник 174"/>
          <p:cNvSpPr/>
          <p:nvPr/>
        </p:nvSpPr>
        <p:spPr>
          <a:xfrm>
            <a:off x="5221289" y="3964605"/>
            <a:ext cx="18129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ym typeface="Arial"/>
              </a:rPr>
              <a:t>Доля полимерных труб в общем производстве в ЕС</a:t>
            </a:r>
            <a:endParaRPr lang="ru-RU" sz="900" b="1" baseline="30000" dirty="0"/>
          </a:p>
        </p:txBody>
      </p:sp>
      <p:sp>
        <p:nvSpPr>
          <p:cNvPr id="182" name="Прямоугольник 181"/>
          <p:cNvSpPr/>
          <p:nvPr/>
        </p:nvSpPr>
        <p:spPr>
          <a:xfrm>
            <a:off x="2830513" y="3964605"/>
            <a:ext cx="19747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ym typeface="Arial"/>
              </a:rPr>
              <a:t>Структура рынка труб из полимерных материалов в РФ</a:t>
            </a:r>
            <a:endParaRPr lang="ru-RU" sz="900" b="1" baseline="30000" dirty="0"/>
          </a:p>
        </p:txBody>
      </p:sp>
      <p:graphicFrame>
        <p:nvGraphicFramePr>
          <p:cNvPr id="183" name="Объект 182"/>
          <p:cNvGraphicFramePr>
            <a:graphicFrameLocks/>
          </p:cNvGraphicFramePr>
          <p:nvPr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1870274323"/>
              </p:ext>
            </p:extLst>
          </p:nvPr>
        </p:nvGraphicFramePr>
        <p:xfrm>
          <a:off x="7543800" y="4724400"/>
          <a:ext cx="1771532" cy="1733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0" name="Диаграмма" r:id="rId85" imgW="1771532" imgH="1733670" progId="MSGraph.Chart.8">
                  <p:embed followColorScheme="full"/>
                </p:oleObj>
              </mc:Choice>
              <mc:Fallback>
                <p:oleObj name="Диаграмма" r:id="rId85" imgW="1771532" imgH="173367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6"/>
                      <a:stretch>
                        <a:fillRect/>
                      </a:stretch>
                    </p:blipFill>
                    <p:spPr>
                      <a:xfrm>
                        <a:off x="7543800" y="4724400"/>
                        <a:ext cx="1771532" cy="1733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6" name="Прямоугольник 195"/>
          <p:cNvSpPr/>
          <p:nvPr>
            <p:custDataLst>
              <p:tags r:id="rId52"/>
            </p:custDataLst>
          </p:nvPr>
        </p:nvSpPr>
        <p:spPr bwMode="gray">
          <a:xfrm>
            <a:off x="8189913" y="4889500"/>
            <a:ext cx="217488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fld id="{61DC47CD-6931-4FD9-8FBF-FEB8C58E2D13}" type="datetime'''''''''''''''''''''7''''''%'''''''''''''''''''''''''">
              <a:rPr lang="en-US" sz="1000">
                <a:solidFill>
                  <a:schemeClr val="bg1"/>
                </a:solidFill>
                <a:latin typeface="Arial"/>
                <a:sym typeface="Arial"/>
              </a:rPr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t>7%</a:t>
            </a:fld>
            <a:endParaRPr lang="ru-RU" sz="1000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Arial"/>
              <a:sym typeface="Arial"/>
            </a:endParaRPr>
          </a:p>
        </p:txBody>
      </p:sp>
      <p:sp>
        <p:nvSpPr>
          <p:cNvPr id="194" name="Прямоугольник 193"/>
          <p:cNvSpPr/>
          <p:nvPr>
            <p:custDataLst>
              <p:tags r:id="rId53"/>
            </p:custDataLst>
          </p:nvPr>
        </p:nvSpPr>
        <p:spPr bwMode="gray">
          <a:xfrm>
            <a:off x="7988300" y="4968875"/>
            <a:ext cx="217488" cy="152400"/>
          </a:xfrm>
          <a:prstGeom prst="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fld id="{5F5B0A20-5E05-483C-ADB5-10EF53A54ED8}" type="datetime'''''''''''''''''''''''''''4''''''''''''''''''''''''%'">
              <a:rPr lang="en-US" sz="1000">
                <a:latin typeface="Arial"/>
                <a:sym typeface="Arial"/>
              </a:rPr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lang="ru-RU" sz="10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99" name="Прямоугольник 198"/>
          <p:cNvSpPr/>
          <p:nvPr>
            <p:custDataLst>
              <p:tags r:id="rId54"/>
            </p:custDataLst>
          </p:nvPr>
        </p:nvSpPr>
        <p:spPr bwMode="gray">
          <a:xfrm>
            <a:off x="7727950" y="5297488"/>
            <a:ext cx="287338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fld id="{7D9C1FA0-3BDF-479D-A25F-5FC06D8B19DA}" type="datetime'''1''''''''''''''''''''''''''''7''''''''''''''''%'''''''''''''">
              <a:rPr lang="en-US" sz="1000">
                <a:latin typeface="Arial"/>
                <a:sym typeface="Arial"/>
              </a:rPr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t>17%</a:t>
            </a:fld>
            <a:endParaRPr lang="ru-RU" sz="1000" strike="noStrike" cap="none" normalizeH="0" dirty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98" name="Прямоугольник 197"/>
          <p:cNvSpPr/>
          <p:nvPr>
            <p:custDataLst>
              <p:tags r:id="rId55"/>
            </p:custDataLst>
          </p:nvPr>
        </p:nvSpPr>
        <p:spPr bwMode="gray">
          <a:xfrm>
            <a:off x="7907338" y="5965825"/>
            <a:ext cx="287338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fld id="{FD85ED6B-812E-441B-B9AA-7EC783914DF7}" type="datetime'''''2''''''''''''''2''''''''''''''''''''''''''%'''''''''">
              <a:rPr lang="en-US" sz="1000">
                <a:latin typeface="Arial"/>
                <a:sym typeface="Arial"/>
              </a:rPr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t>22%</a:t>
            </a:fld>
            <a:endParaRPr lang="ru-RU" sz="10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84" name="Прямоугольник 183"/>
          <p:cNvSpPr/>
          <p:nvPr>
            <p:custDataLst>
              <p:tags r:id="rId56"/>
            </p:custDataLst>
          </p:nvPr>
        </p:nvSpPr>
        <p:spPr bwMode="gray">
          <a:xfrm>
            <a:off x="8907465" y="5500688"/>
            <a:ext cx="287338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808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fld id="{50D928E6-907C-4A07-8848-819C37D9982D}" type="datetime'''''''''''''5''''''''''''''0''''''''''''''''''''%'''">
              <a:rPr lang="en-US" sz="1000">
                <a:solidFill>
                  <a:schemeClr val="bg1"/>
                </a:solidFill>
              </a:rPr>
              <a:pPr/>
              <a:t>50%</a:t>
            </a:fld>
            <a:endParaRPr lang="ru-RU" sz="1000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sym typeface="+mn-lt"/>
            </a:endParaRPr>
          </a:p>
        </p:txBody>
      </p:sp>
      <p:sp>
        <p:nvSpPr>
          <p:cNvPr id="197" name="Прямоугольник 196"/>
          <p:cNvSpPr/>
          <p:nvPr>
            <p:custDataLst>
              <p:tags r:id="rId57"/>
            </p:custDataLst>
          </p:nvPr>
        </p:nvSpPr>
        <p:spPr bwMode="auto">
          <a:xfrm>
            <a:off x="8653463" y="4570413"/>
            <a:ext cx="160338" cy="120650"/>
          </a:xfrm>
          <a:prstGeom prst="rect">
            <a:avLst/>
          </a:prstGeom>
          <a:solidFill>
            <a:srgbClr val="8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8" name="Прямоугольник 187"/>
          <p:cNvSpPr/>
          <p:nvPr>
            <p:custDataLst>
              <p:tags r:id="rId58"/>
            </p:custDataLst>
          </p:nvPr>
        </p:nvSpPr>
        <p:spPr bwMode="auto">
          <a:xfrm>
            <a:off x="8653463" y="4383088"/>
            <a:ext cx="160338" cy="12065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6" name="Прямоугольник 185"/>
          <p:cNvSpPr/>
          <p:nvPr>
            <p:custDataLst>
              <p:tags r:id="rId59"/>
            </p:custDataLst>
          </p:nvPr>
        </p:nvSpPr>
        <p:spPr bwMode="auto">
          <a:xfrm>
            <a:off x="7453313" y="4757738"/>
            <a:ext cx="160338" cy="120650"/>
          </a:xfrm>
          <a:prstGeom prst="rect">
            <a:avLst/>
          </a:prstGeom>
          <a:solidFill>
            <a:srgbClr val="B2D2D8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5" name="Прямоугольник 184"/>
          <p:cNvSpPr/>
          <p:nvPr>
            <p:custDataLst>
              <p:tags r:id="rId60"/>
            </p:custDataLst>
          </p:nvPr>
        </p:nvSpPr>
        <p:spPr bwMode="auto">
          <a:xfrm>
            <a:off x="7453313" y="4570413"/>
            <a:ext cx="160338" cy="120650"/>
          </a:xfrm>
          <a:prstGeom prst="rect">
            <a:avLst/>
          </a:prstGeom>
          <a:solidFill>
            <a:srgbClr val="99CC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7" name="Прямоугольник 186"/>
          <p:cNvSpPr/>
          <p:nvPr>
            <p:custDataLst>
              <p:tags r:id="rId61"/>
            </p:custDataLst>
          </p:nvPr>
        </p:nvSpPr>
        <p:spPr bwMode="auto">
          <a:xfrm>
            <a:off x="7453313" y="4383088"/>
            <a:ext cx="160338" cy="120650"/>
          </a:xfrm>
          <a:prstGeom prst="rect">
            <a:avLst/>
          </a:prstGeom>
          <a:solidFill>
            <a:srgbClr val="00808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5" name="Прямоугольник 194"/>
          <p:cNvSpPr/>
          <p:nvPr>
            <p:custDataLst>
              <p:tags r:id="rId62"/>
            </p:custDataLst>
          </p:nvPr>
        </p:nvSpPr>
        <p:spPr bwMode="auto">
          <a:xfrm>
            <a:off x="8864600" y="4567244"/>
            <a:ext cx="708026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573E9DBF-A59D-4E1C-A411-B05073956C75}" type="datetime'П''''''ол''''''и''''''''''б''''''''у''т''''''ил''''ен'''">
              <a:rPr lang="en-US" sz="900">
                <a:latin typeface="Arial"/>
                <a:sym typeface="Arial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Полибутилен</a:t>
            </a:fld>
            <a:endParaRPr lang="ru-RU" sz="9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92" name="Прямоугольник 191"/>
          <p:cNvSpPr/>
          <p:nvPr>
            <p:custDataLst>
              <p:tags r:id="rId63"/>
            </p:custDataLst>
          </p:nvPr>
        </p:nvSpPr>
        <p:spPr bwMode="auto">
          <a:xfrm>
            <a:off x="8864603" y="4379919"/>
            <a:ext cx="2349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B1A32CC4-F443-486B-9B29-C6E06ED838C2}" type="datetime'''''''''''''''''''''П''''''''''''''''''''В''Х'''''''">
              <a:rPr lang="en-US" sz="900"/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ПВХ</a:t>
            </a:fld>
            <a:endParaRPr lang="ru-RU" sz="9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91" name="Прямоугольник 190"/>
          <p:cNvSpPr/>
          <p:nvPr>
            <p:custDataLst>
              <p:tags r:id="rId64"/>
            </p:custDataLst>
          </p:nvPr>
        </p:nvSpPr>
        <p:spPr bwMode="auto">
          <a:xfrm>
            <a:off x="7664450" y="4754569"/>
            <a:ext cx="165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0D8CA94F-B628-4ADB-A51E-48260FCD0EDA}" type="datetime'''''''''П''''''''П'''''''''''''''''''''">
              <a:rPr lang="en-US" sz="900"/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ПП</a:t>
            </a:fld>
            <a:endParaRPr lang="ru-RU" sz="9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90" name="Прямоугольник 189"/>
          <p:cNvSpPr/>
          <p:nvPr>
            <p:custDataLst>
              <p:tags r:id="rId65"/>
            </p:custDataLst>
          </p:nvPr>
        </p:nvSpPr>
        <p:spPr bwMode="auto">
          <a:xfrm>
            <a:off x="7664450" y="4567244"/>
            <a:ext cx="16510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14D4930-A2FA-4364-B041-62EF33C8AAB3}" type="datetime'''''''''П''''''''''''''Э'''''''''''">
              <a:rPr lang="en-US" sz="900"/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ПЭ</a:t>
            </a:fld>
            <a:endParaRPr lang="ru-RU" sz="900" strike="noStrike" cap="none" normalizeH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189" name="Прямоугольник 188"/>
          <p:cNvSpPr/>
          <p:nvPr>
            <p:custDataLst>
              <p:tags r:id="rId66"/>
            </p:custDataLst>
          </p:nvPr>
        </p:nvSpPr>
        <p:spPr bwMode="auto">
          <a:xfrm>
            <a:off x="7664452" y="4379919"/>
            <a:ext cx="887413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7864A563-BBDE-4132-BAD1-389CC514C0AC}" type="datetime'''''''''''М''ет''''а''''''лло''п''''л''''а''с''ти''''к'''''">
              <a:rPr lang="en-US" sz="900"/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Металлопластик</a:t>
            </a:fld>
            <a:endParaRPr lang="ru-RU" sz="900" strike="noStrike" cap="none" normalizeH="0" smtClean="0">
              <a:ln>
                <a:noFill/>
              </a:ln>
              <a:effectLst/>
              <a:sym typeface="+mn-lt"/>
            </a:endParaRPr>
          </a:p>
        </p:txBody>
      </p:sp>
      <p:sp>
        <p:nvSpPr>
          <p:cNvPr id="193" name="Прямоугольник 192"/>
          <p:cNvSpPr/>
          <p:nvPr/>
        </p:nvSpPr>
        <p:spPr>
          <a:xfrm>
            <a:off x="7373941" y="3964605"/>
            <a:ext cx="19442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ym typeface="Arial"/>
              </a:rPr>
              <a:t>Структура рынка труб из полимерных материалов в ЕС</a:t>
            </a:r>
            <a:endParaRPr lang="ru-RU" sz="900" b="1" baseline="30000" dirty="0"/>
          </a:p>
        </p:txBody>
      </p:sp>
      <p:sp>
        <p:nvSpPr>
          <p:cNvPr id="77" name="Rectangle 62"/>
          <p:cNvSpPr>
            <a:spLocks noChangeArrowheads="1"/>
          </p:cNvSpPr>
          <p:nvPr/>
        </p:nvSpPr>
        <p:spPr bwMode="auto">
          <a:xfrm>
            <a:off x="5168900" y="1278684"/>
            <a:ext cx="4485600" cy="33855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altLang="ru-RU" sz="1100" b="1" dirty="0" smtClean="0">
                <a:solidFill>
                  <a:schemeClr val="bg1"/>
                </a:solidFill>
              </a:rPr>
              <a:t>Относительная толщина материалов для сопротивления теплопередаче</a:t>
            </a:r>
            <a:endParaRPr lang="ru-RU" altLang="ru-RU" sz="1600" u="none" dirty="0">
              <a:solidFill>
                <a:schemeClr val="bg1"/>
              </a:solidFill>
            </a:endParaRPr>
          </a:p>
        </p:txBody>
      </p:sp>
      <p:sp>
        <p:nvSpPr>
          <p:cNvPr id="78" name="Прямоугольник 77"/>
          <p:cNvSpPr/>
          <p:nvPr/>
        </p:nvSpPr>
        <p:spPr bwMode="auto">
          <a:xfrm>
            <a:off x="5168901" y="1266830"/>
            <a:ext cx="4478338" cy="2282949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9" name="Объект 78"/>
          <p:cNvGraphicFramePr>
            <a:graphicFrameLocks/>
          </p:cNvGraphicFramePr>
          <p:nvPr>
            <p:custDataLst>
              <p:tags r:id="rId67"/>
            </p:custDataLst>
            <p:extLst>
              <p:ext uri="{D42A27DB-BD31-4B8C-83A1-F6EECF244321}">
                <p14:modId xmlns:p14="http://schemas.microsoft.com/office/powerpoint/2010/main" val="3525572073"/>
              </p:ext>
            </p:extLst>
          </p:nvPr>
        </p:nvGraphicFramePr>
        <p:xfrm>
          <a:off x="6400800" y="1638300"/>
          <a:ext cx="2838557" cy="19240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1" name="Диаграмма" r:id="rId87" imgW="2838557" imgH="1924020" progId="MSGraph.Chart.8">
                  <p:embed followColorScheme="full"/>
                </p:oleObj>
              </mc:Choice>
              <mc:Fallback>
                <p:oleObj name="Диаграмма" r:id="rId87" imgW="2838557" imgH="192402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8"/>
                      <a:stretch>
                        <a:fillRect/>
                      </a:stretch>
                    </p:blipFill>
                    <p:spPr>
                      <a:xfrm>
                        <a:off x="6400800" y="1638300"/>
                        <a:ext cx="2838557" cy="19240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/>
          <p:cNvSpPr/>
          <p:nvPr>
            <p:custDataLst>
              <p:tags r:id="rId68"/>
            </p:custDataLst>
          </p:nvPr>
        </p:nvSpPr>
        <p:spPr bwMode="auto">
          <a:xfrm>
            <a:off x="5543553" y="3236919"/>
            <a:ext cx="862013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0FF2776D-D2A0-4BE5-836B-14AD6C8D5E1C}" type="datetime'П''е''но''по''''''''ли''м''е''''''''''''''р''''ы''''*'''">
              <a:rPr lang="en-US" sz="900">
                <a:latin typeface="Arial"/>
                <a:sym typeface="Arial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Пенополимеры*</a:t>
            </a:fld>
            <a:endParaRPr lang="ru-RU" sz="9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8" name="Прямоугольник 7"/>
          <p:cNvSpPr/>
          <p:nvPr>
            <p:custDataLst>
              <p:tags r:id="rId69"/>
            </p:custDataLst>
          </p:nvPr>
        </p:nvSpPr>
        <p:spPr bwMode="auto">
          <a:xfrm>
            <a:off x="5510213" y="2955931"/>
            <a:ext cx="895350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5BFF420-2EE1-41B3-A0DA-ACCA9970B729}" type="datetime'П''е''''н''''''о''''''п''''''о''лис''т''''''''и''''''рол'''''">
              <a:rPr lang="en-US" sz="900">
                <a:latin typeface="Arial"/>
                <a:sym typeface="Arial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Пенополистирол</a:t>
            </a:fld>
            <a:endParaRPr lang="ru-RU" sz="9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6" name="Прямоугольник 5"/>
          <p:cNvSpPr/>
          <p:nvPr>
            <p:custDataLst>
              <p:tags r:id="rId70"/>
            </p:custDataLst>
          </p:nvPr>
        </p:nvSpPr>
        <p:spPr bwMode="auto">
          <a:xfrm>
            <a:off x="5513391" y="2674944"/>
            <a:ext cx="892175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E2EAC012-AC65-444C-82F8-C0F343901A8C}" type="datetime'''П''е''''''''''''н''''о''п''''о''лиу''р''''е''т''''ан'''''''">
              <a:rPr lang="en-US" sz="900">
                <a:latin typeface="Arial"/>
                <a:sym typeface="Arial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Пенополиуретан</a:t>
            </a:fld>
            <a:endParaRPr lang="ru-RU" sz="9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5" name="Прямоугольник 4"/>
          <p:cNvSpPr/>
          <p:nvPr>
            <p:custDataLst>
              <p:tags r:id="rId71"/>
            </p:custDataLst>
          </p:nvPr>
        </p:nvSpPr>
        <p:spPr bwMode="auto">
          <a:xfrm>
            <a:off x="5405441" y="2398719"/>
            <a:ext cx="1000125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C4C2AECE-1EAC-46CC-B7C0-EB65DB1B5EB8}" type="datetime'М''''ине''р''''''''а''''ль''н''ая ''''ва''т''''''''а'''''">
              <a:rPr lang="en-US" sz="900"/>
              <a:pPr/>
              <a:t>Минеральная вата</a:t>
            </a:fld>
            <a:endParaRPr lang="ru-RU" sz="9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3" name="Прямоугольник 2"/>
          <p:cNvSpPr/>
          <p:nvPr>
            <p:custDataLst>
              <p:tags r:id="rId72"/>
            </p:custDataLst>
          </p:nvPr>
        </p:nvSpPr>
        <p:spPr bwMode="auto">
          <a:xfrm>
            <a:off x="5551491" y="2117731"/>
            <a:ext cx="854075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6BB30163-FB71-4D57-8A62-AE5F45FB8A3A}" type="datetime'''''''''''Б''''ет''он'''''''' ''''''яч''е''''и''''''ст''ый'">
              <a:rPr lang="en-US" sz="900"/>
              <a:pPr/>
              <a:t>Бетон ячеистый</a:t>
            </a:fld>
            <a:endParaRPr lang="ru-RU" sz="9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2" name="Прямоугольник 1"/>
          <p:cNvSpPr/>
          <p:nvPr>
            <p:custDataLst>
              <p:tags r:id="rId73"/>
            </p:custDataLst>
          </p:nvPr>
        </p:nvSpPr>
        <p:spPr bwMode="auto">
          <a:xfrm>
            <a:off x="6026154" y="1836740"/>
            <a:ext cx="379413" cy="1365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827C62D9-DE15-4BA3-88EB-744D832E471C}" type="datetime'''''''К''''и''''''''''р''''''''''''''''''''п''''''''и''ч'''''">
              <a:rPr lang="en-US" sz="900">
                <a:latin typeface="Arial"/>
                <a:sym typeface="Arial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Кирпич</a:t>
            </a:fld>
            <a:endParaRPr lang="ru-RU" sz="900" strike="noStrike" cap="none" normalizeH="0" smtClean="0">
              <a:ln>
                <a:noFill/>
              </a:ln>
              <a:effectLst/>
              <a:latin typeface="Arial"/>
              <a:sym typeface="Arial"/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5200650" y="1652049"/>
            <a:ext cx="34496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 smtClean="0"/>
              <a:t>мм</a:t>
            </a:r>
            <a:endParaRPr lang="ru-RU" sz="900" dirty="0"/>
          </a:p>
        </p:txBody>
      </p:sp>
      <p:cxnSp>
        <p:nvCxnSpPr>
          <p:cNvPr id="11" name="Прямая соединительная линия 10"/>
          <p:cNvCxnSpPr/>
          <p:nvPr/>
        </p:nvCxnSpPr>
        <p:spPr bwMode="auto">
          <a:xfrm>
            <a:off x="2495409" y="3917277"/>
            <a:ext cx="0" cy="245975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4" name="Прямая соединительная линия 93"/>
          <p:cNvCxnSpPr/>
          <p:nvPr/>
        </p:nvCxnSpPr>
        <p:spPr bwMode="auto">
          <a:xfrm>
            <a:off x="7257257" y="3938204"/>
            <a:ext cx="0" cy="245975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107644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1572740"/>
              </p:ext>
            </p:extLst>
          </p:nvPr>
        </p:nvGraphicFramePr>
        <p:xfrm>
          <a:off x="825500" y="0"/>
          <a:ext cx="14331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03" name="think-cell Slide" r:id="rId5" imgW="429" imgH="429" progId="TCLayout.ActiveDocument.1">
                  <p:embed/>
                </p:oleObj>
              </mc:Choice>
              <mc:Fallback>
                <p:oleObj name="think-cell Slide" r:id="rId5" imgW="429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25500" y="0"/>
                        <a:ext cx="14331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Прямоугольник 20" hidden="1"/>
          <p:cNvSpPr/>
          <p:nvPr>
            <p:custDataLst>
              <p:tags r:id="rId3"/>
            </p:custDataLst>
          </p:nvPr>
        </p:nvSpPr>
        <p:spPr bwMode="auto">
          <a:xfrm>
            <a:off x="825508" y="2"/>
            <a:ext cx="282485" cy="369332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833" b="1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58" name="Заголовок 2"/>
          <p:cNvSpPr txBox="1">
            <a:spLocks/>
          </p:cNvSpPr>
          <p:nvPr/>
        </p:nvSpPr>
        <p:spPr>
          <a:xfrm>
            <a:off x="392725" y="188680"/>
            <a:ext cx="8006842" cy="759493"/>
          </a:xfrm>
          <a:prstGeom prst="rect">
            <a:avLst/>
          </a:prstGeom>
          <a:noFill/>
        </p:spPr>
        <p:txBody>
          <a:bodyPr lIns="87290" tIns="43644" rIns="87290" bIns="43644"/>
          <a:lstStyle>
            <a:lvl1pPr algn="l" defTabSz="955292" rtl="0" eaLnBrk="0" fontAlgn="base" hangingPunct="0">
              <a:spcBef>
                <a:spcPct val="0"/>
              </a:spcBef>
              <a:spcAft>
                <a:spcPct val="0"/>
              </a:spcAft>
              <a:defRPr kumimoji="0" lang="ru-RU" sz="18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  <a:lvl2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2pPr>
            <a:lvl3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3pPr>
            <a:lvl4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4pPr>
            <a:lvl5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5pPr>
            <a:lvl6pPr marL="436016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6pPr>
            <a:lvl7pPr marL="872029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7pPr>
            <a:lvl8pPr marL="1308043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8pPr>
            <a:lvl9pPr marL="1744064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ru-RU" dirty="0" smtClean="0"/>
              <a:t>…А ТАКЖЕ ПОТЕНЦИАЛ ЛОКАЛИЗАЦИИ.</a:t>
            </a:r>
          </a:p>
          <a:p>
            <a:r>
              <a:rPr lang="ru-RU" dirty="0" smtClean="0"/>
              <a:t>НАПРИМЕР, В АВТОПРОМЕ</a:t>
            </a:r>
            <a:endParaRPr lang="ru-RU" dirty="0">
              <a:solidFill>
                <a:srgbClr val="008080"/>
              </a:solidFill>
            </a:endParaRPr>
          </a:p>
        </p:txBody>
      </p:sp>
      <p:pic>
        <p:nvPicPr>
          <p:cNvPr id="11" name="Picture 4" descr="DYNEON_CAR_ILLUplacement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49701" y="1884775"/>
            <a:ext cx="7269004" cy="4084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AutoShape 5"/>
          <p:cNvSpPr>
            <a:spLocks noChangeAspect="1" noChangeArrowheads="1"/>
          </p:cNvSpPr>
          <p:nvPr/>
        </p:nvSpPr>
        <p:spPr bwMode="auto">
          <a:xfrm>
            <a:off x="5971976" y="2066920"/>
            <a:ext cx="1115001" cy="4850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wrap="square" lIns="68382" tIns="34191" rIns="68382" bIns="34191" anchor="ctr" anchorCtr="1">
            <a:spAutoFit/>
          </a:bodyPr>
          <a:lstStyle/>
          <a:p>
            <a:pPr algn="ctr" defTabSz="683921" eaLnBrk="0" hangingPunct="0"/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Приборная панель </a:t>
            </a:r>
            <a:endParaRPr lang="en-US" altLang="ko-KR" sz="12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3" name="AutoShape 6"/>
          <p:cNvSpPr>
            <a:spLocks noChangeAspect="1" noChangeArrowheads="1"/>
          </p:cNvSpPr>
          <p:nvPr/>
        </p:nvSpPr>
        <p:spPr bwMode="auto">
          <a:xfrm>
            <a:off x="3790705" y="1574256"/>
            <a:ext cx="1274090" cy="689329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wrap="square" lIns="68382" tIns="34191" rIns="68382" bIns="34191" anchor="ctr" anchorCtr="1">
            <a:spAutoFit/>
          </a:bodyPr>
          <a:lstStyle/>
          <a:p>
            <a:pPr algn="ctr" defTabSz="683921" eaLnBrk="0" hangingPunct="0"/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Сдвижной люк из пластмассы</a:t>
            </a:r>
            <a:endParaRPr lang="en-US" altLang="ko-KR" sz="12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4" name="AutoShape 8"/>
          <p:cNvSpPr>
            <a:spLocks noChangeAspect="1" noChangeArrowheads="1"/>
          </p:cNvSpPr>
          <p:nvPr/>
        </p:nvSpPr>
        <p:spPr bwMode="auto">
          <a:xfrm>
            <a:off x="5646648" y="1790696"/>
            <a:ext cx="944454" cy="4850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lIns="68382" tIns="34191" rIns="68382" bIns="34191" anchor="ctr" anchorCtr="1">
            <a:spAutoFit/>
          </a:bodyPr>
          <a:lstStyle/>
          <a:p>
            <a:pPr algn="ctr" defTabSz="683921" eaLnBrk="0" hangingPunct="0"/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Руль</a:t>
            </a:r>
            <a:endParaRPr lang="en-US" sz="1200" b="1" dirty="0">
              <a:solidFill>
                <a:srgbClr val="FF0000"/>
              </a:solidFill>
              <a:sym typeface="Arial" pitchFamily="34" charset="0"/>
            </a:endParaRPr>
          </a:p>
          <a:p>
            <a:pPr algn="ctr" defTabSz="683921" eaLnBrk="0" hangingPunct="0"/>
            <a:endParaRPr lang="en-US" altLang="ko-KR" sz="12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6" name="AutoShape 9"/>
          <p:cNvSpPr>
            <a:spLocks noChangeAspect="1" noChangeArrowheads="1"/>
          </p:cNvSpPr>
          <p:nvPr/>
        </p:nvSpPr>
        <p:spPr bwMode="auto">
          <a:xfrm>
            <a:off x="1002486" y="4836567"/>
            <a:ext cx="1410232" cy="893641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wrap="square" lIns="68382" tIns="34191" rIns="68382" bIns="34191" anchor="ctr" anchorCtr="1">
            <a:spAutoFit/>
          </a:bodyPr>
          <a:lstStyle/>
          <a:p>
            <a:pPr algn="ctr" defTabSz="683921" eaLnBrk="0" hangingPunct="0">
              <a:buSzPct val="100000"/>
            </a:pPr>
            <a:r>
              <a:rPr lang="ru-RU" sz="1200" b="1" dirty="0">
                <a:solidFill>
                  <a:srgbClr val="000000"/>
                </a:solidFill>
                <a:sym typeface="Arial" pitchFamily="34" charset="0"/>
              </a:rPr>
              <a:t>Защитный клапан топливного бака</a:t>
            </a:r>
          </a:p>
        </p:txBody>
      </p:sp>
      <p:sp>
        <p:nvSpPr>
          <p:cNvPr id="17" name="AutoShape 10"/>
          <p:cNvSpPr>
            <a:spLocks noChangeAspect="1" noChangeArrowheads="1"/>
          </p:cNvSpPr>
          <p:nvPr/>
        </p:nvSpPr>
        <p:spPr bwMode="auto">
          <a:xfrm>
            <a:off x="4802518" y="1420264"/>
            <a:ext cx="1266916" cy="689329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wrap="square" lIns="68382" tIns="34191" rIns="68382" bIns="34191" anchor="ctr" anchorCtr="1">
            <a:spAutoFit/>
          </a:bodyPr>
          <a:lstStyle/>
          <a:p>
            <a:pPr algn="ctr" defTabSz="683921" eaLnBrk="0" hangingPunct="0"/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Внутренняя обшивка дверей</a:t>
            </a:r>
          </a:p>
        </p:txBody>
      </p:sp>
      <p:sp>
        <p:nvSpPr>
          <p:cNvPr id="18" name="AutoShape 11"/>
          <p:cNvSpPr>
            <a:spLocks noChangeAspect="1" noChangeArrowheads="1"/>
          </p:cNvSpPr>
          <p:nvPr/>
        </p:nvSpPr>
        <p:spPr bwMode="auto">
          <a:xfrm>
            <a:off x="2228553" y="1698070"/>
            <a:ext cx="1487625" cy="689329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wrap="square" lIns="68382" tIns="34191" rIns="68382" bIns="34191" anchor="ctr" anchorCtr="1">
            <a:spAutoFit/>
          </a:bodyPr>
          <a:lstStyle/>
          <a:p>
            <a:pPr algn="ctr" defTabSz="683921" eaLnBrk="0" hangingPunct="0"/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Конструкционный</a:t>
            </a:r>
          </a:p>
          <a:p>
            <a:pPr algn="ctr" defTabSz="683921" eaLnBrk="0" hangingPunct="0"/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полиуретан</a:t>
            </a:r>
            <a:endParaRPr lang="en-US" altLang="ko-KR" sz="12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19" name="AutoShape 12"/>
          <p:cNvSpPr>
            <a:spLocks noChangeAspect="1" noChangeArrowheads="1"/>
          </p:cNvSpPr>
          <p:nvPr/>
        </p:nvSpPr>
        <p:spPr bwMode="auto">
          <a:xfrm>
            <a:off x="7320590" y="2339665"/>
            <a:ext cx="1198124" cy="893641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wrap="square" lIns="68382" tIns="34191" rIns="68382" bIns="34191" anchor="ctr" anchorCtr="1">
            <a:spAutoFit/>
          </a:bodyPr>
          <a:lstStyle/>
          <a:p>
            <a:pPr algn="ctr" defTabSz="683921" eaLnBrk="0" hangingPunct="0">
              <a:buSzPct val="100000"/>
            </a:pPr>
            <a:r>
              <a:rPr lang="ru-RU" sz="1200" b="1" dirty="0" err="1">
                <a:solidFill>
                  <a:srgbClr val="000000"/>
                </a:solidFill>
                <a:sym typeface="Arial" pitchFamily="34" charset="0"/>
              </a:rPr>
              <a:t>Шумопоглощающий</a:t>
            </a:r>
            <a:r>
              <a:rPr lang="ru-RU" sz="1200" b="1" dirty="0">
                <a:solidFill>
                  <a:srgbClr val="000000"/>
                </a:solidFill>
                <a:sym typeface="Arial" pitchFamily="34" charset="0"/>
              </a:rPr>
              <a:t> кожух двигателя</a:t>
            </a:r>
            <a:endParaRPr lang="en-US" sz="1200" b="1" dirty="0">
              <a:solidFill>
                <a:srgbClr val="FF0000"/>
              </a:solidFill>
              <a:sym typeface="Arial" pitchFamily="34" charset="0"/>
            </a:endParaRPr>
          </a:p>
        </p:txBody>
      </p:sp>
      <p:sp>
        <p:nvSpPr>
          <p:cNvPr id="20" name="AutoShape 13"/>
          <p:cNvSpPr>
            <a:spLocks noChangeAspect="1" noChangeArrowheads="1"/>
          </p:cNvSpPr>
          <p:nvPr/>
        </p:nvSpPr>
        <p:spPr bwMode="auto">
          <a:xfrm>
            <a:off x="5543459" y="6315070"/>
            <a:ext cx="1288414" cy="4850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lIns="68382" tIns="34191" rIns="68382" bIns="34191" anchor="ctr" anchorCtr="1">
            <a:spAutoFit/>
          </a:bodyPr>
          <a:lstStyle/>
          <a:p>
            <a:pPr algn="ctr" defTabSz="683921" eaLnBrk="0" hangingPunct="0"/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Передние подкрылки</a:t>
            </a:r>
            <a:endParaRPr lang="en-US" altLang="ko-KR" sz="12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23" name="AutoShape 14"/>
          <p:cNvSpPr>
            <a:spLocks noChangeAspect="1" noChangeArrowheads="1"/>
          </p:cNvSpPr>
          <p:nvPr/>
        </p:nvSpPr>
        <p:spPr bwMode="auto">
          <a:xfrm>
            <a:off x="1083460" y="1697278"/>
            <a:ext cx="1248285" cy="689329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lIns="68382" tIns="34191" rIns="68382" bIns="34191" anchor="ctr" anchorCtr="1">
            <a:spAutoFit/>
          </a:bodyPr>
          <a:lstStyle/>
          <a:p>
            <a:pPr algn="ctr" defTabSz="683921" eaLnBrk="0" hangingPunct="0"/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Внутренняя обшивка багажника </a:t>
            </a:r>
            <a:endParaRPr lang="en-US" altLang="ko-KR" sz="12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24" name="AutoShape 15"/>
          <p:cNvSpPr>
            <a:spLocks noChangeAspect="1" noChangeArrowheads="1"/>
          </p:cNvSpPr>
          <p:nvPr/>
        </p:nvSpPr>
        <p:spPr bwMode="auto">
          <a:xfrm>
            <a:off x="3241799" y="5535607"/>
            <a:ext cx="1289847" cy="4850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lIns="68382" tIns="34191" rIns="68382" bIns="34191" anchor="ctr" anchorCtr="1">
            <a:spAutoFit/>
          </a:bodyPr>
          <a:lstStyle/>
          <a:p>
            <a:pPr algn="ctr" defTabSz="683921" eaLnBrk="0" hangingPunct="0"/>
            <a:r>
              <a:rPr lang="ru-RU" altLang="ko-KR" sz="1200" b="1" dirty="0" err="1">
                <a:solidFill>
                  <a:srgbClr val="000000"/>
                </a:solidFill>
                <a:ea typeface="Gulim" pitchFamily="34" charset="-127"/>
              </a:rPr>
              <a:t>Молдинги</a:t>
            </a:r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 на </a:t>
            </a:r>
          </a:p>
          <a:p>
            <a:pPr algn="ctr" defTabSz="683921" eaLnBrk="0" hangingPunct="0"/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боковине</a:t>
            </a:r>
            <a:endParaRPr lang="en-US" altLang="ko-KR" sz="12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25" name="AutoShape 16"/>
          <p:cNvSpPr>
            <a:spLocks noChangeAspect="1" noChangeArrowheads="1"/>
          </p:cNvSpPr>
          <p:nvPr/>
        </p:nvSpPr>
        <p:spPr bwMode="auto">
          <a:xfrm>
            <a:off x="8004209" y="3282595"/>
            <a:ext cx="1023279" cy="280707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wrap="square" lIns="68382" tIns="34191" rIns="68382" bIns="34191" anchor="ctr" anchorCtr="1">
            <a:spAutoFit/>
          </a:bodyPr>
          <a:lstStyle/>
          <a:p>
            <a:pPr algn="ctr" defTabSz="683921" eaLnBrk="0" hangingPunct="0"/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Фары</a:t>
            </a:r>
            <a:endParaRPr lang="en-US" altLang="ko-KR" sz="12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26" name="Text Box 17"/>
          <p:cNvSpPr txBox="1">
            <a:spLocks noChangeArrowheads="1"/>
          </p:cNvSpPr>
          <p:nvPr/>
        </p:nvSpPr>
        <p:spPr bwMode="auto">
          <a:xfrm>
            <a:off x="7069775" y="5488932"/>
            <a:ext cx="109206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914400"/>
            <a:r>
              <a:rPr lang="ru-RU" sz="1200" b="1" dirty="0">
                <a:solidFill>
                  <a:srgbClr val="000000"/>
                </a:solidFill>
              </a:rPr>
              <a:t>Решетка радиатора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27" name="AutoShape 18"/>
          <p:cNvSpPr>
            <a:spLocks noChangeAspect="1" noChangeArrowheads="1"/>
          </p:cNvSpPr>
          <p:nvPr/>
        </p:nvSpPr>
        <p:spPr bwMode="auto">
          <a:xfrm>
            <a:off x="1941917" y="5895749"/>
            <a:ext cx="1249718" cy="280707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lIns="68382" tIns="34191" rIns="68382" bIns="34191" anchor="ctr" anchorCtr="1">
            <a:spAutoFit/>
          </a:bodyPr>
          <a:lstStyle/>
          <a:p>
            <a:pPr algn="ctr" defTabSz="683921" eaLnBrk="0" hangingPunct="0"/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Шины</a:t>
            </a:r>
            <a:endParaRPr lang="en-US" altLang="ko-KR" sz="12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28" name="AutoShape 21"/>
          <p:cNvSpPr>
            <a:spLocks noChangeAspect="1" noChangeArrowheads="1"/>
          </p:cNvSpPr>
          <p:nvPr/>
        </p:nvSpPr>
        <p:spPr bwMode="auto">
          <a:xfrm>
            <a:off x="6556706" y="6097832"/>
            <a:ext cx="1721228" cy="689329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wrap="square" lIns="68382" tIns="34191" rIns="68382" bIns="34191" anchor="ctr" anchorCtr="1">
            <a:spAutoFit/>
          </a:bodyPr>
          <a:lstStyle/>
          <a:p>
            <a:pPr algn="ctr" defTabSz="683921" eaLnBrk="0" hangingPunct="0"/>
            <a:r>
              <a:rPr lang="ru-RU" sz="1200" b="1" dirty="0">
                <a:solidFill>
                  <a:srgbClr val="000000"/>
                </a:solidFill>
                <a:sym typeface="Arial" pitchFamily="34" charset="0"/>
              </a:rPr>
              <a:t>Конструкционный пенопласт в бампере</a:t>
            </a:r>
          </a:p>
        </p:txBody>
      </p:sp>
      <p:sp>
        <p:nvSpPr>
          <p:cNvPr id="29" name="AutoShape 22"/>
          <p:cNvSpPr>
            <a:spLocks noChangeAspect="1" noChangeArrowheads="1"/>
          </p:cNvSpPr>
          <p:nvPr/>
        </p:nvSpPr>
        <p:spPr bwMode="auto">
          <a:xfrm>
            <a:off x="6320355" y="1137212"/>
            <a:ext cx="1560715" cy="893641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wrap="square" lIns="68382" tIns="34191" rIns="68382" bIns="34191" anchor="ctr" anchorCtr="1">
            <a:spAutoFit/>
          </a:bodyPr>
          <a:lstStyle/>
          <a:p>
            <a:pPr algn="ctr" defTabSz="683921" eaLnBrk="0" hangingPunct="0"/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Вентиляторы,</a:t>
            </a:r>
          </a:p>
          <a:p>
            <a:pPr algn="ctr" defTabSz="683921" eaLnBrk="0" hangingPunct="0"/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каркас крепления вентиляторов </a:t>
            </a:r>
            <a:endParaRPr lang="en-US" altLang="ko-KR" sz="12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30" name="AutoShape 24"/>
          <p:cNvSpPr>
            <a:spLocks noChangeAspect="1" noChangeArrowheads="1"/>
          </p:cNvSpPr>
          <p:nvPr/>
        </p:nvSpPr>
        <p:spPr bwMode="auto">
          <a:xfrm>
            <a:off x="2879667" y="1137220"/>
            <a:ext cx="1641948" cy="689329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wrap="square" lIns="68382" tIns="34191" rIns="68382" bIns="34191" anchor="ctr" anchorCtr="1">
            <a:spAutoFit/>
          </a:bodyPr>
          <a:lstStyle/>
          <a:p>
            <a:pPr algn="ctr" defTabSz="683921" eaLnBrk="0" hangingPunct="0"/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Обивка из искусственной кожи</a:t>
            </a:r>
            <a:endParaRPr lang="en-US" altLang="ko-KR" sz="12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31" name="AutoShape 25"/>
          <p:cNvSpPr>
            <a:spLocks noChangeAspect="1" noChangeArrowheads="1"/>
          </p:cNvSpPr>
          <p:nvPr/>
        </p:nvSpPr>
        <p:spPr bwMode="auto">
          <a:xfrm>
            <a:off x="8160420" y="5800411"/>
            <a:ext cx="1110702" cy="4850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lIns="68382" tIns="34191" rIns="68382" bIns="34191" anchor="ctr" anchorCtr="1">
            <a:spAutoFit/>
          </a:bodyPr>
          <a:lstStyle/>
          <a:p>
            <a:pPr algn="ctr" defTabSz="683921" eaLnBrk="0" hangingPunct="0"/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Крышка на двигатель</a:t>
            </a:r>
            <a:endParaRPr lang="en-US" altLang="ko-KR" sz="12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32" name="AutoShape 26"/>
          <p:cNvSpPr>
            <a:spLocks noChangeAspect="1" noChangeArrowheads="1"/>
          </p:cNvSpPr>
          <p:nvPr/>
        </p:nvSpPr>
        <p:spPr bwMode="auto">
          <a:xfrm>
            <a:off x="4041753" y="6028775"/>
            <a:ext cx="1829909" cy="689329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wrap="square" lIns="68382" tIns="34191" rIns="68382" bIns="34191" anchor="ctr" anchorCtr="1">
            <a:spAutoFit/>
          </a:bodyPr>
          <a:lstStyle/>
          <a:p>
            <a:pPr algn="ctr" defTabSz="683921" eaLnBrk="0" hangingPunct="0"/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Ящик аккумуляторной батареи</a:t>
            </a:r>
            <a:endParaRPr lang="en-US" altLang="ko-KR" sz="12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33" name="AutoShape 27"/>
          <p:cNvSpPr>
            <a:spLocks noChangeAspect="1" noChangeArrowheads="1"/>
          </p:cNvSpPr>
          <p:nvPr/>
        </p:nvSpPr>
        <p:spPr bwMode="auto">
          <a:xfrm>
            <a:off x="6454947" y="2578096"/>
            <a:ext cx="889993" cy="4850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wrap="square" lIns="68382" tIns="34191" rIns="68382" bIns="34191" anchor="ctr" anchorCtr="1">
            <a:spAutoFit/>
          </a:bodyPr>
          <a:lstStyle/>
          <a:p>
            <a:pPr algn="ctr" defTabSz="683921" eaLnBrk="0" hangingPunct="0"/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Капот и крылья</a:t>
            </a:r>
            <a:endParaRPr lang="en-US" altLang="ko-KR" sz="12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34" name="Line 28"/>
          <p:cNvSpPr>
            <a:spLocks noChangeShapeType="1"/>
          </p:cNvSpPr>
          <p:nvPr/>
        </p:nvSpPr>
        <p:spPr bwMode="auto">
          <a:xfrm>
            <a:off x="4339604" y="2208623"/>
            <a:ext cx="182012" cy="195262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pPr defTabSz="914400"/>
            <a:endParaRPr lang="en-US" sz="10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5" name="Line 29"/>
          <p:cNvSpPr>
            <a:spLocks noChangeShapeType="1"/>
          </p:cNvSpPr>
          <p:nvPr/>
        </p:nvSpPr>
        <p:spPr bwMode="auto">
          <a:xfrm>
            <a:off x="3762037" y="1838736"/>
            <a:ext cx="93156" cy="121285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pPr defTabSz="914400"/>
            <a:endParaRPr lang="en-US" sz="10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6" name="Line 30"/>
          <p:cNvSpPr>
            <a:spLocks noChangeShapeType="1"/>
          </p:cNvSpPr>
          <p:nvPr/>
        </p:nvSpPr>
        <p:spPr bwMode="auto">
          <a:xfrm>
            <a:off x="3006760" y="2273721"/>
            <a:ext cx="424216" cy="649288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pPr defTabSz="914400"/>
            <a:endParaRPr lang="en-US" sz="10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7" name="Line 32"/>
          <p:cNvSpPr>
            <a:spLocks noChangeShapeType="1"/>
          </p:cNvSpPr>
          <p:nvPr/>
        </p:nvSpPr>
        <p:spPr bwMode="auto">
          <a:xfrm>
            <a:off x="1855930" y="2338798"/>
            <a:ext cx="302397" cy="519112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pPr defTabSz="914400"/>
            <a:endParaRPr lang="en-US" sz="10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8" name="Line 33"/>
          <p:cNvSpPr>
            <a:spLocks noChangeShapeType="1"/>
          </p:cNvSpPr>
          <p:nvPr/>
        </p:nvSpPr>
        <p:spPr bwMode="auto">
          <a:xfrm flipV="1">
            <a:off x="1734116" y="3570698"/>
            <a:ext cx="242204" cy="12954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pPr defTabSz="914400"/>
            <a:endParaRPr lang="en-US" sz="10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9" name="Line 34"/>
          <p:cNvSpPr>
            <a:spLocks noChangeShapeType="1"/>
          </p:cNvSpPr>
          <p:nvPr/>
        </p:nvSpPr>
        <p:spPr bwMode="auto">
          <a:xfrm flipH="1" flipV="1">
            <a:off x="2396237" y="4735939"/>
            <a:ext cx="194911" cy="1081087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pPr defTabSz="914400"/>
            <a:endParaRPr lang="en-US" sz="10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0" name="Line 37"/>
          <p:cNvSpPr>
            <a:spLocks noChangeShapeType="1"/>
          </p:cNvSpPr>
          <p:nvPr/>
        </p:nvSpPr>
        <p:spPr bwMode="auto">
          <a:xfrm flipV="1">
            <a:off x="4157598" y="4672422"/>
            <a:ext cx="908625" cy="842962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pPr defTabSz="914400"/>
            <a:endParaRPr lang="en-US" sz="10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1" name="Line 38"/>
          <p:cNvSpPr>
            <a:spLocks noChangeShapeType="1"/>
          </p:cNvSpPr>
          <p:nvPr/>
        </p:nvSpPr>
        <p:spPr bwMode="auto">
          <a:xfrm flipH="1">
            <a:off x="6278673" y="2534061"/>
            <a:ext cx="182012" cy="6477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pPr defTabSz="914400"/>
            <a:endParaRPr lang="en-US" sz="10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2" name="Line 39"/>
          <p:cNvSpPr>
            <a:spLocks noChangeShapeType="1"/>
          </p:cNvSpPr>
          <p:nvPr/>
        </p:nvSpPr>
        <p:spPr bwMode="auto">
          <a:xfrm flipV="1">
            <a:off x="6166881" y="4931185"/>
            <a:ext cx="293798" cy="1389062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pPr defTabSz="914400"/>
            <a:endParaRPr lang="en-US" sz="10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3" name="Line 40"/>
          <p:cNvSpPr>
            <a:spLocks noChangeShapeType="1"/>
          </p:cNvSpPr>
          <p:nvPr/>
        </p:nvSpPr>
        <p:spPr bwMode="auto">
          <a:xfrm flipH="1" flipV="1">
            <a:off x="6945090" y="5320142"/>
            <a:ext cx="131850" cy="784225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pPr defTabSz="914400"/>
            <a:endParaRPr lang="en-US" sz="10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4" name="Line 41"/>
          <p:cNvSpPr>
            <a:spLocks noChangeShapeType="1"/>
          </p:cNvSpPr>
          <p:nvPr/>
        </p:nvSpPr>
        <p:spPr bwMode="auto">
          <a:xfrm flipV="1">
            <a:off x="7466767" y="4607335"/>
            <a:ext cx="144750" cy="92075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pPr defTabSz="914400"/>
            <a:endParaRPr lang="en-US" sz="10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5" name="Line 42"/>
          <p:cNvSpPr>
            <a:spLocks noChangeShapeType="1"/>
          </p:cNvSpPr>
          <p:nvPr/>
        </p:nvSpPr>
        <p:spPr bwMode="auto">
          <a:xfrm flipH="1" flipV="1">
            <a:off x="7671705" y="4088230"/>
            <a:ext cx="448580" cy="172720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pPr defTabSz="914400"/>
            <a:endParaRPr lang="en-US" sz="10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6" name="Line 43"/>
          <p:cNvSpPr>
            <a:spLocks noChangeShapeType="1"/>
          </p:cNvSpPr>
          <p:nvPr/>
        </p:nvSpPr>
        <p:spPr bwMode="auto">
          <a:xfrm flipV="1">
            <a:off x="5126414" y="4283486"/>
            <a:ext cx="1394468" cy="1820862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pPr defTabSz="914400"/>
            <a:endParaRPr lang="en-US" sz="10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7" name="Line 44"/>
          <p:cNvSpPr>
            <a:spLocks noChangeShapeType="1"/>
          </p:cNvSpPr>
          <p:nvPr/>
        </p:nvSpPr>
        <p:spPr bwMode="auto">
          <a:xfrm>
            <a:off x="6884896" y="2986500"/>
            <a:ext cx="362590" cy="32385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pPr defTabSz="914400"/>
            <a:endParaRPr lang="en-US" sz="10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8" name="Line 45"/>
          <p:cNvSpPr>
            <a:spLocks noChangeShapeType="1"/>
          </p:cNvSpPr>
          <p:nvPr/>
        </p:nvSpPr>
        <p:spPr bwMode="auto">
          <a:xfrm>
            <a:off x="6884909" y="2986500"/>
            <a:ext cx="182012" cy="32385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pPr defTabSz="914400"/>
            <a:endParaRPr lang="en-US" sz="10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9" name="Line 46"/>
          <p:cNvSpPr>
            <a:spLocks noChangeShapeType="1"/>
          </p:cNvSpPr>
          <p:nvPr/>
        </p:nvSpPr>
        <p:spPr bwMode="auto">
          <a:xfrm flipH="1">
            <a:off x="7853718" y="3368696"/>
            <a:ext cx="63059" cy="59094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pPr defTabSz="914400"/>
            <a:endParaRPr lang="en-US" sz="10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50" name="Line 47"/>
          <p:cNvSpPr>
            <a:spLocks noChangeShapeType="1"/>
          </p:cNvSpPr>
          <p:nvPr/>
        </p:nvSpPr>
        <p:spPr bwMode="auto">
          <a:xfrm flipH="1">
            <a:off x="8277934" y="3570703"/>
            <a:ext cx="164814" cy="454025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pPr defTabSz="914400"/>
            <a:endParaRPr lang="en-US" sz="10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51" name="Line 48"/>
          <p:cNvSpPr>
            <a:spLocks noChangeShapeType="1"/>
          </p:cNvSpPr>
          <p:nvPr/>
        </p:nvSpPr>
        <p:spPr bwMode="auto">
          <a:xfrm>
            <a:off x="7127105" y="2014948"/>
            <a:ext cx="424216" cy="2009774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pPr defTabSz="914400"/>
            <a:endParaRPr lang="en-US" sz="10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52" name="Line 49"/>
          <p:cNvSpPr>
            <a:spLocks noChangeShapeType="1"/>
          </p:cNvSpPr>
          <p:nvPr/>
        </p:nvSpPr>
        <p:spPr bwMode="auto">
          <a:xfrm flipH="1">
            <a:off x="5976282" y="2145140"/>
            <a:ext cx="60193" cy="841375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pPr defTabSz="914400"/>
            <a:endParaRPr lang="en-US" sz="10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53" name="Line 51"/>
          <p:cNvSpPr>
            <a:spLocks noChangeShapeType="1"/>
          </p:cNvSpPr>
          <p:nvPr/>
        </p:nvSpPr>
        <p:spPr bwMode="auto">
          <a:xfrm>
            <a:off x="5430248" y="2208623"/>
            <a:ext cx="60193" cy="90805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pPr defTabSz="914400"/>
            <a:endParaRPr lang="en-US" sz="10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54" name="Line 33"/>
          <p:cNvSpPr>
            <a:spLocks noChangeShapeType="1"/>
          </p:cNvSpPr>
          <p:nvPr/>
        </p:nvSpPr>
        <p:spPr bwMode="auto">
          <a:xfrm flipV="1">
            <a:off x="1347153" y="3872328"/>
            <a:ext cx="186312" cy="346075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pPr defTabSz="914400"/>
            <a:endParaRPr lang="en-US" sz="10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55" name="AutoShape 18"/>
          <p:cNvSpPr>
            <a:spLocks noChangeAspect="1" noChangeArrowheads="1"/>
          </p:cNvSpPr>
          <p:nvPr/>
        </p:nvSpPr>
        <p:spPr bwMode="auto">
          <a:xfrm>
            <a:off x="874210" y="4259916"/>
            <a:ext cx="859898" cy="204311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wrap="square" lIns="0" tIns="0" rIns="0" bIns="0" anchor="ctr" anchorCtr="1">
            <a:spAutoFit/>
          </a:bodyPr>
          <a:lstStyle/>
          <a:p>
            <a:pPr defTabSz="683921" eaLnBrk="0" hangingPunct="0"/>
            <a:r>
              <a:rPr lang="ru-RU" altLang="ko-KR" sz="1200" b="1" dirty="0" err="1">
                <a:solidFill>
                  <a:srgbClr val="000000"/>
                </a:solidFill>
                <a:ea typeface="Gulim" pitchFamily="34" charset="-127"/>
              </a:rPr>
              <a:t>Молдинги</a:t>
            </a:r>
            <a:endParaRPr lang="en-US" altLang="ko-KR" sz="12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88257" y="6386661"/>
            <a:ext cx="95250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ru-RU" sz="900" i="1" dirty="0">
                <a:solidFill>
                  <a:srgbClr val="000000"/>
                </a:solidFill>
              </a:rPr>
              <a:t>Источник: 3М</a:t>
            </a:r>
          </a:p>
        </p:txBody>
      </p:sp>
      <p:sp>
        <p:nvSpPr>
          <p:cNvPr id="56" name="AutoShape 11"/>
          <p:cNvSpPr>
            <a:spLocks noChangeAspect="1" noChangeArrowheads="1"/>
          </p:cNvSpPr>
          <p:nvPr/>
        </p:nvSpPr>
        <p:spPr bwMode="auto">
          <a:xfrm>
            <a:off x="2666594" y="4836572"/>
            <a:ext cx="1332842" cy="689329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lIns="68382" tIns="34191" rIns="68382" bIns="34191" anchor="ctr" anchorCtr="1">
            <a:spAutoFit/>
          </a:bodyPr>
          <a:lstStyle/>
          <a:p>
            <a:pPr algn="ctr" defTabSz="683921" eaLnBrk="0" hangingPunct="0"/>
            <a:r>
              <a:rPr lang="ru-RU" altLang="ko-KR" sz="1200" b="1" dirty="0">
                <a:solidFill>
                  <a:srgbClr val="000000"/>
                </a:solidFill>
                <a:ea typeface="Gulim" pitchFamily="34" charset="-127"/>
              </a:rPr>
              <a:t>Стекла из поликарбоната</a:t>
            </a:r>
            <a:endParaRPr lang="en-US" altLang="ko-KR" sz="1200" b="1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57" name="Line 37"/>
          <p:cNvSpPr>
            <a:spLocks noChangeShapeType="1"/>
          </p:cNvSpPr>
          <p:nvPr/>
        </p:nvSpPr>
        <p:spPr bwMode="auto">
          <a:xfrm flipV="1">
            <a:off x="3307722" y="3228598"/>
            <a:ext cx="285632" cy="1723229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</p:spPr>
        <p:txBody>
          <a:bodyPr/>
          <a:lstStyle/>
          <a:p>
            <a:pPr defTabSz="914400"/>
            <a:endParaRPr lang="en-US" sz="10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444793" y="948173"/>
            <a:ext cx="77884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1400" b="1" dirty="0">
                <a:solidFill>
                  <a:srgbClr val="C00000"/>
                </a:solidFill>
              </a:rPr>
              <a:t>До 200 кг современного автомобиля составляют полимерные компоненты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E21891-C490-4004-85C6-D1C420B5BA6E}" type="slidenum">
              <a:rPr lang="ru-RU" altLang="en-US" smtClean="0"/>
              <a:pPr>
                <a:defRPr/>
              </a:pPr>
              <a:t>8</a:t>
            </a:fld>
            <a:endParaRPr lang="ru-RU" altLang="en-US" dirty="0"/>
          </a:p>
        </p:txBody>
      </p:sp>
    </p:spTree>
    <p:extLst>
      <p:ext uri="{BB962C8B-B14F-4D97-AF65-F5344CB8AC3E}">
        <p14:creationId xmlns:p14="http://schemas.microsoft.com/office/powerpoint/2010/main" val="27997687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  <p:bldP spid="16" grpId="0"/>
      <p:bldP spid="17" grpId="0"/>
      <p:bldP spid="18" grpId="0"/>
      <p:bldP spid="19" grpId="0"/>
      <p:bldP spid="20" grpId="0"/>
      <p:bldP spid="23" grpId="0"/>
      <p:bldP spid="24" grpId="0"/>
      <p:bldP spid="25" grpId="0"/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5" grpId="0"/>
      <p:bldP spid="56" grpId="0"/>
      <p:bldP spid="57" grpId="0" animBg="1"/>
      <p:bldP spid="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8333663"/>
              </p:ext>
            </p:ext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 descr="Фото Ford Focus Hatchback (Форд Фокус Хэтчбек)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552" b="21034"/>
          <a:stretch/>
        </p:blipFill>
        <p:spPr bwMode="auto">
          <a:xfrm>
            <a:off x="1946039" y="2136284"/>
            <a:ext cx="6283325" cy="2621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9" name="Заголовок 2"/>
          <p:cNvSpPr txBox="1">
            <a:spLocks/>
          </p:cNvSpPr>
          <p:nvPr/>
        </p:nvSpPr>
        <p:spPr>
          <a:xfrm>
            <a:off x="392725" y="188680"/>
            <a:ext cx="8006842" cy="759493"/>
          </a:xfrm>
          <a:prstGeom prst="rect">
            <a:avLst/>
          </a:prstGeom>
          <a:noFill/>
        </p:spPr>
        <p:txBody>
          <a:bodyPr lIns="87290" tIns="43644" rIns="87290" bIns="43644"/>
          <a:lstStyle>
            <a:lvl1pPr algn="l" defTabSz="955292" rtl="0" eaLnBrk="0" fontAlgn="base" hangingPunct="0">
              <a:spcBef>
                <a:spcPct val="0"/>
              </a:spcBef>
              <a:spcAft>
                <a:spcPct val="0"/>
              </a:spcAft>
              <a:defRPr kumimoji="0" lang="ru-RU" sz="1800" b="1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  <a:lvl2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2pPr>
            <a:lvl3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3pPr>
            <a:lvl4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4pPr>
            <a:lvl5pPr algn="ctr" defTabSz="955292" rtl="0" eaLnBrk="0" fontAlgn="base" hangingPunct="0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5pPr>
            <a:lvl6pPr marL="436016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6pPr>
            <a:lvl7pPr marL="872029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7pPr>
            <a:lvl8pPr marL="1308043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8pPr>
            <a:lvl9pPr marL="1744064" algn="ctr" defTabSz="955292" rtl="0" fontAlgn="base">
              <a:spcBef>
                <a:spcPct val="0"/>
              </a:spcBef>
              <a:spcAft>
                <a:spcPct val="0"/>
              </a:spcAft>
              <a:defRPr sz="4600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dirty="0">
                <a:solidFill>
                  <a:srgbClr val="008080"/>
                </a:solidFill>
              </a:rPr>
              <a:t>ЛОКАЛИЗАЦИЯ АВТОПРОМА В РФ ДОСТИГЛА 70%, НО </a:t>
            </a:r>
            <a:r>
              <a:rPr dirty="0" smtClean="0">
                <a:solidFill>
                  <a:srgbClr val="008080"/>
                </a:solidFill>
              </a:rPr>
              <a:t>СБОРКА ОСУЩЕСТВЛЯЕТСЯ ПРЕИМУЩЕСТВЕННО ИЗ ИМПОРТНЫХ ДЕ</a:t>
            </a:r>
            <a:r>
              <a:rPr dirty="0">
                <a:solidFill>
                  <a:srgbClr val="008080"/>
                </a:solidFill>
              </a:rPr>
              <a:t>Т</a:t>
            </a:r>
            <a:r>
              <a:rPr dirty="0" smtClean="0">
                <a:solidFill>
                  <a:srgbClr val="008080"/>
                </a:solidFill>
              </a:rPr>
              <a:t>АЛЕЙ</a:t>
            </a:r>
            <a:endParaRPr dirty="0">
              <a:solidFill>
                <a:srgbClr val="00808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1130577" y="1333148"/>
            <a:ext cx="858095" cy="576064"/>
          </a:xfrm>
          <a:prstGeom prst="rect">
            <a:avLst/>
          </a:prstGeom>
          <a:solidFill>
            <a:srgbClr val="E5F2F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2121177" y="1333148"/>
            <a:ext cx="858095" cy="576064"/>
          </a:xfrm>
          <a:prstGeom prst="rect">
            <a:avLst/>
          </a:prstGeom>
          <a:solidFill>
            <a:srgbClr val="D0D0D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6278136" y="1334737"/>
            <a:ext cx="858095" cy="576064"/>
          </a:xfrm>
          <a:prstGeom prst="rect">
            <a:avLst/>
          </a:prstGeom>
          <a:solidFill>
            <a:srgbClr val="D0D0D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4229223" y="1333148"/>
            <a:ext cx="858095" cy="576064"/>
          </a:xfrm>
          <a:prstGeom prst="rect">
            <a:avLst/>
          </a:prstGeom>
          <a:solidFill>
            <a:srgbClr val="E5F2F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5258077" y="1333148"/>
            <a:ext cx="858095" cy="576064"/>
          </a:xfrm>
          <a:prstGeom prst="rect">
            <a:avLst/>
          </a:prstGeom>
          <a:solidFill>
            <a:srgbClr val="D0D0D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3168776" y="1333148"/>
            <a:ext cx="858095" cy="576064"/>
          </a:xfrm>
          <a:prstGeom prst="rect">
            <a:avLst/>
          </a:prstGeom>
          <a:solidFill>
            <a:srgbClr val="E5F2F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7293260" y="1333148"/>
            <a:ext cx="858095" cy="576064"/>
          </a:xfrm>
          <a:prstGeom prst="rect">
            <a:avLst/>
          </a:prstGeom>
          <a:solidFill>
            <a:srgbClr val="D0D0D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896551" y="2794705"/>
            <a:ext cx="858095" cy="576064"/>
          </a:xfrm>
          <a:prstGeom prst="rect">
            <a:avLst/>
          </a:prstGeom>
          <a:solidFill>
            <a:srgbClr val="E5F2F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1130577" y="5013176"/>
            <a:ext cx="858095" cy="576064"/>
          </a:xfrm>
          <a:prstGeom prst="rect">
            <a:avLst/>
          </a:prstGeom>
          <a:solidFill>
            <a:srgbClr val="E5F2F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2121177" y="5013176"/>
            <a:ext cx="858095" cy="576064"/>
          </a:xfrm>
          <a:prstGeom prst="rect">
            <a:avLst/>
          </a:prstGeom>
          <a:solidFill>
            <a:srgbClr val="E5F2F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4236918" y="5013176"/>
            <a:ext cx="858095" cy="576064"/>
          </a:xfrm>
          <a:prstGeom prst="rect">
            <a:avLst/>
          </a:prstGeom>
          <a:solidFill>
            <a:srgbClr val="D0D0D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6279149" y="5013176"/>
            <a:ext cx="858095" cy="576064"/>
          </a:xfrm>
          <a:prstGeom prst="rect">
            <a:avLst/>
          </a:prstGeom>
          <a:solidFill>
            <a:srgbClr val="D0D0D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5258077" y="5013176"/>
            <a:ext cx="858095" cy="576064"/>
          </a:xfrm>
          <a:prstGeom prst="rect">
            <a:avLst/>
          </a:prstGeom>
          <a:solidFill>
            <a:srgbClr val="D0D0D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 bwMode="auto">
          <a:xfrm>
            <a:off x="3168776" y="5013176"/>
            <a:ext cx="858095" cy="576064"/>
          </a:xfrm>
          <a:prstGeom prst="rect">
            <a:avLst/>
          </a:prstGeom>
          <a:solidFill>
            <a:srgbClr val="E5F2F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 bwMode="auto">
          <a:xfrm>
            <a:off x="7293260" y="5013176"/>
            <a:ext cx="858095" cy="576064"/>
          </a:xfrm>
          <a:prstGeom prst="rect">
            <a:avLst/>
          </a:prstGeom>
          <a:solidFill>
            <a:srgbClr val="D0D0D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896551" y="2132856"/>
            <a:ext cx="858095" cy="576064"/>
          </a:xfrm>
          <a:prstGeom prst="rect">
            <a:avLst/>
          </a:prstGeom>
          <a:solidFill>
            <a:srgbClr val="E5F2F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896551" y="4118404"/>
            <a:ext cx="858095" cy="576064"/>
          </a:xfrm>
          <a:prstGeom prst="rect">
            <a:avLst/>
          </a:prstGeom>
          <a:solidFill>
            <a:srgbClr val="D0D0D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 bwMode="auto">
          <a:xfrm>
            <a:off x="8541400" y="4129648"/>
            <a:ext cx="858095" cy="576064"/>
          </a:xfrm>
          <a:prstGeom prst="rect">
            <a:avLst/>
          </a:prstGeom>
          <a:solidFill>
            <a:srgbClr val="D0D0D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 bwMode="auto">
          <a:xfrm>
            <a:off x="8541400" y="2132856"/>
            <a:ext cx="858095" cy="576064"/>
          </a:xfrm>
          <a:prstGeom prst="rect">
            <a:avLst/>
          </a:prstGeom>
          <a:solidFill>
            <a:srgbClr val="E5F2F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8541400" y="2811212"/>
            <a:ext cx="858095" cy="576064"/>
          </a:xfrm>
          <a:prstGeom prst="rect">
            <a:avLst/>
          </a:prstGeom>
          <a:solidFill>
            <a:srgbClr val="D0D0D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8541400" y="3478148"/>
            <a:ext cx="858095" cy="576064"/>
          </a:xfrm>
          <a:prstGeom prst="rect">
            <a:avLst/>
          </a:prstGeom>
          <a:solidFill>
            <a:srgbClr val="D9D9D9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pic>
        <p:nvPicPr>
          <p:cNvPr id="3076" name="Picture 4" descr="http://vostok-avtoshina.ru/images/stati/michelin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1884" y="5036222"/>
            <a:ext cx="803732" cy="291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http://cdns2.freepik.com/free-photo/basf-logo_414349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0572" y="5039897"/>
            <a:ext cx="807022" cy="253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http://www.industryweek.com/site-files/industryweek.com/files/uploads/2012/09/tenneco-logo-promo.gif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6282" y="5036222"/>
            <a:ext cx="802905" cy="291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http://urethaneblog.typepad.com/.a/6a00e553931c4c883301a73d9a2b67970d-800wi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2172" y="5042778"/>
            <a:ext cx="826816" cy="285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http://www.moldsystems.com/wp-content/uploads/2013/01/Nypro-Logo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0576" y="4152511"/>
            <a:ext cx="826305" cy="268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 descr="http://paritetcompany.com/public/uploads/partners/3135e63957c57733d9c8cd5fb25da1e2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7834" y="1357404"/>
            <a:ext cx="816730" cy="288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0" name="Picture 18" descr="http://www.battery-industry.ru/wp-content/2013/12/johnson-controls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7624" y="1353006"/>
            <a:ext cx="819003" cy="286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2" name="Picture 20" descr="http://skad.colesa.ru/images/logo-big/skad.gif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752" y="5032481"/>
            <a:ext cx="782369" cy="295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4" name="Picture 22" descr="http://www.mosautotuning.ru/insulation/stp.jp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7851" y="5034607"/>
            <a:ext cx="802504" cy="250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6" name="Picture 24" descr="http://autoexpert.com.ua/uploads/posts/2012-10/1350984958_brt_logo.gif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675" y="5036753"/>
            <a:ext cx="802263" cy="291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8" name="Picture 26" descr="http://hh.ru/employer-logo/425983.jpe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8979" y="2166626"/>
            <a:ext cx="766918" cy="257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0" name="Picture 28" descr="http://avtobaza.ru/images/oil/logo/neste.gif"/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43" b="16141"/>
          <a:stretch/>
        </p:blipFill>
        <p:spPr bwMode="auto">
          <a:xfrm>
            <a:off x="7329505" y="1360643"/>
            <a:ext cx="797533" cy="283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2" name="Picture 30" descr="http://arkona36.ru/images/stories/articles/Arteco_logo_copy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803" y="4153728"/>
            <a:ext cx="756316" cy="311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Прямоугольник 42"/>
          <p:cNvSpPr/>
          <p:nvPr/>
        </p:nvSpPr>
        <p:spPr bwMode="auto">
          <a:xfrm>
            <a:off x="896551" y="3456554"/>
            <a:ext cx="858095" cy="576064"/>
          </a:xfrm>
          <a:prstGeom prst="rect">
            <a:avLst/>
          </a:prstGeom>
          <a:solidFill>
            <a:srgbClr val="D0D0D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pic>
        <p:nvPicPr>
          <p:cNvPr id="3104" name="Picture 32" descr="http://akb174.ru/wp-content/uploads/2012/07/akom_logo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371" y="2819853"/>
            <a:ext cx="813345" cy="264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6" name="Picture 34" descr="http://hh.ru/employer-logo/391577.jpe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7897" y="1353035"/>
            <a:ext cx="792106" cy="297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09" name="Picture 37" descr="http://cspp.biz/images/logo.gif"/>
          <p:cNvPicPr>
            <a:picLocks noChangeAspect="1" noChangeArrowheads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26"/>
          <a:stretch/>
        </p:blipFill>
        <p:spPr bwMode="auto">
          <a:xfrm>
            <a:off x="942156" y="2162970"/>
            <a:ext cx="784207" cy="302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12" name="Picture 40" descr="http://marineservice.info/wp-content/uploads/2012/09/Magna.jp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872" y="3482537"/>
            <a:ext cx="801792" cy="280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14" name="Picture 42" descr="http://www.olmi-e.ru/images/manufacturers/logo_zmz.gif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6889" y="1360545"/>
            <a:ext cx="798833" cy="309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17" name="Picture 45" descr="http://public.superjob.ru/images/clients_logos.ru/868786_8d5341fb0f6c345c0a60bc8f1f4324ea.jpg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5419" y="1356008"/>
            <a:ext cx="805565" cy="294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20" name="Picture 48" descr="http://www.globtime.cz/userfiles/logo_tiautomotive.jpg"/>
          <p:cNvPicPr>
            <a:picLocks noChangeAspect="1" noChangeArrowheads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220" b="35390"/>
          <a:stretch/>
        </p:blipFill>
        <p:spPr bwMode="auto">
          <a:xfrm>
            <a:off x="8572862" y="2835610"/>
            <a:ext cx="799165" cy="261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22" name="Picture 50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3250" y="1340290"/>
            <a:ext cx="390043" cy="2992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" name="TextBox 51"/>
          <p:cNvSpPr txBox="1"/>
          <p:nvPr/>
        </p:nvSpPr>
        <p:spPr>
          <a:xfrm>
            <a:off x="807220" y="3089403"/>
            <a:ext cx="1036754" cy="281369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700" b="1" dirty="0" smtClean="0">
                <a:solidFill>
                  <a:srgbClr val="000000"/>
                </a:solidFill>
              </a:rPr>
              <a:t>Аккумуляторные батареи</a:t>
            </a:r>
            <a:endParaRPr lang="ru-RU" sz="700" b="1" dirty="0">
              <a:solidFill>
                <a:srgbClr val="000000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818541" y="3791053"/>
            <a:ext cx="1036754" cy="173647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700" b="1" dirty="0" smtClean="0">
                <a:solidFill>
                  <a:srgbClr val="000000"/>
                </a:solidFill>
              </a:rPr>
              <a:t>Бампер</a:t>
            </a:r>
            <a:endParaRPr lang="ru-RU" sz="700" b="1" dirty="0">
              <a:solidFill>
                <a:srgbClr val="000000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041246" y="1658441"/>
            <a:ext cx="1036754" cy="281369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700" b="1" dirty="0" smtClean="0">
                <a:solidFill>
                  <a:srgbClr val="000000"/>
                </a:solidFill>
              </a:rPr>
              <a:t>Воздуховоды, подкрылки</a:t>
            </a:r>
            <a:endParaRPr lang="ru-RU" sz="700" b="1" dirty="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2031846" y="1681283"/>
            <a:ext cx="1036754" cy="173647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700" b="1" dirty="0" smtClean="0">
                <a:solidFill>
                  <a:srgbClr val="000000"/>
                </a:solidFill>
              </a:rPr>
              <a:t>Стекла</a:t>
            </a:r>
            <a:endParaRPr lang="ru-RU" sz="700" b="1" dirty="0">
              <a:solidFill>
                <a:srgbClr val="000000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3079447" y="1650132"/>
            <a:ext cx="1036754" cy="281369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700" b="1" dirty="0" smtClean="0">
                <a:solidFill>
                  <a:srgbClr val="000000"/>
                </a:solidFill>
              </a:rPr>
              <a:t>Алюминиевые кронштейны</a:t>
            </a:r>
            <a:endParaRPr lang="ru-RU" sz="700" b="1" dirty="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6195007" y="1658521"/>
            <a:ext cx="1036754" cy="265980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650" b="1" dirty="0" smtClean="0">
                <a:solidFill>
                  <a:srgbClr val="000000"/>
                </a:solidFill>
              </a:rPr>
              <a:t>Дверные панели, приборная панель</a:t>
            </a:r>
            <a:endParaRPr lang="ru-RU" sz="650" b="1" dirty="0">
              <a:solidFill>
                <a:srgbClr val="000000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168746" y="1681283"/>
            <a:ext cx="1036754" cy="173647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700" b="1" dirty="0" smtClean="0">
                <a:solidFill>
                  <a:srgbClr val="000000"/>
                </a:solidFill>
              </a:rPr>
              <a:t>Сиденья</a:t>
            </a:r>
            <a:endParaRPr lang="ru-RU" sz="700" b="1" dirty="0">
              <a:solidFill>
                <a:srgbClr val="000000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139894" y="1681283"/>
            <a:ext cx="1036754" cy="173647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700" b="1" dirty="0" smtClean="0">
                <a:solidFill>
                  <a:srgbClr val="000000"/>
                </a:solidFill>
              </a:rPr>
              <a:t>Антенна</a:t>
            </a:r>
            <a:endParaRPr lang="ru-RU" sz="700" b="1" dirty="0">
              <a:solidFill>
                <a:srgbClr val="000000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7215252" y="1681283"/>
            <a:ext cx="1036754" cy="173647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700" b="1" dirty="0" smtClean="0">
                <a:solidFill>
                  <a:srgbClr val="000000"/>
                </a:solidFill>
              </a:rPr>
              <a:t>Топливо</a:t>
            </a:r>
            <a:endParaRPr lang="ru-RU" sz="700" b="1" dirty="0">
              <a:solidFill>
                <a:srgbClr val="000000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8452069" y="2439504"/>
            <a:ext cx="1036754" cy="281369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700" b="1" spc="-20" dirty="0" smtClean="0">
                <a:solidFill>
                  <a:srgbClr val="000000"/>
                </a:solidFill>
              </a:rPr>
              <a:t>Обивка багажника</a:t>
            </a:r>
          </a:p>
          <a:p>
            <a:pPr algn="ctr" defTabSz="914042"/>
            <a:r>
              <a:rPr lang="ru-RU" sz="700" b="1" spc="-20" dirty="0" smtClean="0">
                <a:solidFill>
                  <a:srgbClr val="000000"/>
                </a:solidFill>
              </a:rPr>
              <a:t> и салона</a:t>
            </a:r>
            <a:endParaRPr lang="ru-RU" sz="700" b="1" spc="-20" dirty="0">
              <a:solidFill>
                <a:srgbClr val="000000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8466499" y="3105910"/>
            <a:ext cx="1036754" cy="281369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700" b="1" spc="-20" dirty="0" smtClean="0">
                <a:solidFill>
                  <a:srgbClr val="000000"/>
                </a:solidFill>
              </a:rPr>
              <a:t>Топливные и тормозные трубки</a:t>
            </a:r>
            <a:endParaRPr lang="ru-RU" sz="700" b="1" spc="-20" dirty="0">
              <a:solidFill>
                <a:srgbClr val="000000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8452069" y="4417683"/>
            <a:ext cx="1036754" cy="281369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700" b="1" dirty="0" smtClean="0">
                <a:solidFill>
                  <a:srgbClr val="000000"/>
                </a:solidFill>
              </a:rPr>
              <a:t>Держатели брызговиков</a:t>
            </a:r>
            <a:endParaRPr lang="ru-RU" sz="700" b="1" dirty="0">
              <a:solidFill>
                <a:srgbClr val="000000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1054428" y="5362256"/>
            <a:ext cx="1036754" cy="173647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700" b="1" dirty="0" smtClean="0">
                <a:solidFill>
                  <a:srgbClr val="000000"/>
                </a:solidFill>
              </a:rPr>
              <a:t>Дефлектор</a:t>
            </a:r>
            <a:endParaRPr lang="ru-RU" sz="700" b="1" dirty="0">
              <a:solidFill>
                <a:srgbClr val="000000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2031846" y="5327910"/>
            <a:ext cx="1036754" cy="281369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700" b="1" dirty="0" err="1" smtClean="0">
                <a:solidFill>
                  <a:srgbClr val="000000"/>
                </a:solidFill>
              </a:rPr>
              <a:t>Шумо</a:t>
            </a:r>
            <a:r>
              <a:rPr lang="ru-RU" sz="700" b="1" dirty="0" smtClean="0">
                <a:solidFill>
                  <a:srgbClr val="000000"/>
                </a:solidFill>
              </a:rPr>
              <a:t>-, виброизоляция</a:t>
            </a:r>
            <a:endParaRPr lang="ru-RU" sz="700" b="1" dirty="0">
              <a:solidFill>
                <a:srgbClr val="000000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807220" y="4505584"/>
            <a:ext cx="1036754" cy="173647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700" b="1" dirty="0" smtClean="0">
                <a:solidFill>
                  <a:srgbClr val="000000"/>
                </a:solidFill>
              </a:rPr>
              <a:t>Охлаждение</a:t>
            </a:r>
            <a:endParaRPr lang="ru-RU" sz="700" b="1" dirty="0">
              <a:solidFill>
                <a:srgbClr val="000000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820665" y="2468187"/>
            <a:ext cx="1036754" cy="281369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700" b="1" dirty="0" smtClean="0">
                <a:solidFill>
                  <a:srgbClr val="000000"/>
                </a:solidFill>
              </a:rPr>
              <a:t>Жидкость для </a:t>
            </a:r>
            <a:r>
              <a:rPr lang="ru-RU" sz="700" b="1" dirty="0" err="1" smtClean="0">
                <a:solidFill>
                  <a:srgbClr val="000000"/>
                </a:solidFill>
              </a:rPr>
              <a:t>омывателя</a:t>
            </a:r>
            <a:endParaRPr lang="ru-RU" sz="700" b="1" dirty="0">
              <a:solidFill>
                <a:srgbClr val="000000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3093365" y="5342739"/>
            <a:ext cx="1036754" cy="281369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700" b="1" dirty="0" smtClean="0">
                <a:solidFill>
                  <a:srgbClr val="000000"/>
                </a:solidFill>
              </a:rPr>
              <a:t>Алюминиевые колесные диски</a:t>
            </a:r>
            <a:endParaRPr lang="ru-RU" sz="700" b="1" dirty="0">
              <a:solidFill>
                <a:srgbClr val="000000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4159866" y="5362256"/>
            <a:ext cx="1036754" cy="173647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700" b="1" dirty="0" smtClean="0">
                <a:solidFill>
                  <a:srgbClr val="000000"/>
                </a:solidFill>
              </a:rPr>
              <a:t>Шины</a:t>
            </a:r>
            <a:endParaRPr lang="ru-RU" sz="700" b="1" dirty="0">
              <a:solidFill>
                <a:srgbClr val="000000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5175705" y="5339395"/>
            <a:ext cx="1036754" cy="281369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700" b="1" dirty="0" smtClean="0">
                <a:solidFill>
                  <a:srgbClr val="000000"/>
                </a:solidFill>
              </a:rPr>
              <a:t>Краски, </a:t>
            </a:r>
          </a:p>
          <a:p>
            <a:pPr algn="ctr" defTabSz="914042"/>
            <a:r>
              <a:rPr lang="ru-RU" sz="700" b="1" dirty="0" smtClean="0">
                <a:solidFill>
                  <a:srgbClr val="000000"/>
                </a:solidFill>
              </a:rPr>
              <a:t>герметика</a:t>
            </a:r>
            <a:endParaRPr lang="ru-RU" sz="700" b="1" dirty="0">
              <a:solidFill>
                <a:srgbClr val="000000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6212460" y="5328430"/>
            <a:ext cx="1036754" cy="281369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700" b="1" dirty="0" smtClean="0">
                <a:solidFill>
                  <a:srgbClr val="000000"/>
                </a:solidFill>
              </a:rPr>
              <a:t>Проводка, </a:t>
            </a:r>
          </a:p>
          <a:p>
            <a:pPr algn="ctr" defTabSz="914042"/>
            <a:r>
              <a:rPr lang="ru-RU" sz="700" b="1" dirty="0" smtClean="0">
                <a:solidFill>
                  <a:srgbClr val="000000"/>
                </a:solidFill>
              </a:rPr>
              <a:t>жгуты проводов</a:t>
            </a:r>
            <a:endParaRPr lang="ru-RU" sz="700" b="1" dirty="0">
              <a:solidFill>
                <a:srgbClr val="000000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7212294" y="5328430"/>
            <a:ext cx="1036754" cy="281369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700" b="1" dirty="0" smtClean="0">
                <a:solidFill>
                  <a:srgbClr val="000000"/>
                </a:solidFill>
              </a:rPr>
              <a:t>Выхлопные системы</a:t>
            </a:r>
            <a:endParaRPr lang="ru-RU" sz="700" b="1" dirty="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8462829" y="3785327"/>
            <a:ext cx="1036754" cy="281369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algn="ctr" defTabSz="914042"/>
            <a:r>
              <a:rPr lang="ru-RU" sz="700" b="1" dirty="0" smtClean="0">
                <a:solidFill>
                  <a:srgbClr val="000000"/>
                </a:solidFill>
              </a:rPr>
              <a:t>Резиновые уплотнители</a:t>
            </a:r>
            <a:endParaRPr lang="ru-RU" sz="700" b="1" dirty="0">
              <a:solidFill>
                <a:srgbClr val="000000"/>
              </a:solidFill>
            </a:endParaRPr>
          </a:p>
        </p:txBody>
      </p:sp>
      <p:pic>
        <p:nvPicPr>
          <p:cNvPr id="3126" name="Picture 54" descr="http://www.fujitsu.com/ru/Images/ru-saargummi-russland_tcm29-974831.jp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3643" y="3504198"/>
            <a:ext cx="814099" cy="280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5"/>
          <p:cNvCxnSpPr>
            <a:stCxn id="7" idx="2"/>
          </p:cNvCxnSpPr>
          <p:nvPr/>
        </p:nvCxnSpPr>
        <p:spPr bwMode="auto">
          <a:xfrm>
            <a:off x="2550223" y="1909215"/>
            <a:ext cx="1845922" cy="84034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>
            <a:stCxn id="10" idx="2"/>
          </p:cNvCxnSpPr>
          <p:nvPr/>
        </p:nvCxnSpPr>
        <p:spPr bwMode="auto">
          <a:xfrm>
            <a:off x="4658270" y="1909215"/>
            <a:ext cx="538350" cy="38632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>
            <a:stCxn id="11" idx="2"/>
          </p:cNvCxnSpPr>
          <p:nvPr/>
        </p:nvCxnSpPr>
        <p:spPr bwMode="auto">
          <a:xfrm>
            <a:off x="5687123" y="1909212"/>
            <a:ext cx="123972" cy="108774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Прямая соединительная линия 37"/>
          <p:cNvCxnSpPr>
            <a:stCxn id="8" idx="2"/>
          </p:cNvCxnSpPr>
          <p:nvPr/>
        </p:nvCxnSpPr>
        <p:spPr bwMode="auto">
          <a:xfrm flipH="1">
            <a:off x="6513175" y="1910801"/>
            <a:ext cx="194009" cy="145996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Прямая соединительная линия 39"/>
          <p:cNvCxnSpPr>
            <a:stCxn id="13" idx="2"/>
          </p:cNvCxnSpPr>
          <p:nvPr/>
        </p:nvCxnSpPr>
        <p:spPr bwMode="auto">
          <a:xfrm flipH="1">
            <a:off x="7449278" y="1909212"/>
            <a:ext cx="273030" cy="132087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Прямая соединительная линия 41"/>
          <p:cNvCxnSpPr/>
          <p:nvPr/>
        </p:nvCxnSpPr>
        <p:spPr bwMode="auto">
          <a:xfrm flipH="1">
            <a:off x="7583756" y="2580186"/>
            <a:ext cx="952902" cy="41676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9" name="Прямая соединительная линия 48"/>
          <p:cNvCxnSpPr>
            <a:stCxn id="21" idx="0"/>
          </p:cNvCxnSpPr>
          <p:nvPr/>
        </p:nvCxnSpPr>
        <p:spPr bwMode="auto">
          <a:xfrm flipH="1" flipV="1">
            <a:off x="7683304" y="3964700"/>
            <a:ext cx="39004" cy="104847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9" name="Прямая соединительная линия 78"/>
          <p:cNvCxnSpPr/>
          <p:nvPr/>
        </p:nvCxnSpPr>
        <p:spPr bwMode="auto">
          <a:xfrm flipH="1" flipV="1">
            <a:off x="6981225" y="3105910"/>
            <a:ext cx="1555433" cy="68514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" name="Прямая соединительная линия 80"/>
          <p:cNvCxnSpPr/>
          <p:nvPr/>
        </p:nvCxnSpPr>
        <p:spPr bwMode="auto">
          <a:xfrm flipH="1" flipV="1">
            <a:off x="7569283" y="3791053"/>
            <a:ext cx="974782" cy="62991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3" name="Прямая соединительная линия 82"/>
          <p:cNvCxnSpPr>
            <a:stCxn id="54" idx="2"/>
          </p:cNvCxnSpPr>
          <p:nvPr/>
        </p:nvCxnSpPr>
        <p:spPr bwMode="auto">
          <a:xfrm>
            <a:off x="1559624" y="1939813"/>
            <a:ext cx="2038201" cy="114292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5" name="Прямая соединительная линия 84"/>
          <p:cNvCxnSpPr>
            <a:stCxn id="22" idx="3"/>
          </p:cNvCxnSpPr>
          <p:nvPr/>
        </p:nvCxnSpPr>
        <p:spPr bwMode="auto">
          <a:xfrm>
            <a:off x="1754646" y="2420888"/>
            <a:ext cx="1718539" cy="72008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" name="Прямая соединительная линия 89"/>
          <p:cNvCxnSpPr/>
          <p:nvPr/>
        </p:nvCxnSpPr>
        <p:spPr bwMode="auto">
          <a:xfrm>
            <a:off x="1754646" y="3096679"/>
            <a:ext cx="1718539" cy="27409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3" name="Прямая соединительная линия 92"/>
          <p:cNvCxnSpPr>
            <a:stCxn id="43" idx="3"/>
          </p:cNvCxnSpPr>
          <p:nvPr/>
        </p:nvCxnSpPr>
        <p:spPr bwMode="auto">
          <a:xfrm flipV="1">
            <a:off x="1754645" y="3683592"/>
            <a:ext cx="795578" cy="6099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923" name="Прямая соединительная линия 81922"/>
          <p:cNvCxnSpPr>
            <a:stCxn id="23" idx="3"/>
          </p:cNvCxnSpPr>
          <p:nvPr/>
        </p:nvCxnSpPr>
        <p:spPr bwMode="auto">
          <a:xfrm flipV="1">
            <a:off x="1754646" y="3622592"/>
            <a:ext cx="1414131" cy="78384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925" name="Прямая соединительная линия 81924"/>
          <p:cNvCxnSpPr>
            <a:stCxn id="15" idx="0"/>
          </p:cNvCxnSpPr>
          <p:nvPr/>
        </p:nvCxnSpPr>
        <p:spPr bwMode="auto">
          <a:xfrm flipV="1">
            <a:off x="1559623" y="4054212"/>
            <a:ext cx="1287143" cy="95896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927" name="Прямая соединительная линия 81926"/>
          <p:cNvCxnSpPr>
            <a:stCxn id="16" idx="0"/>
          </p:cNvCxnSpPr>
          <p:nvPr/>
        </p:nvCxnSpPr>
        <p:spPr bwMode="auto">
          <a:xfrm flipV="1">
            <a:off x="2550223" y="3926008"/>
            <a:ext cx="1154638" cy="108716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929" name="Прямая соединительная линия 81928"/>
          <p:cNvCxnSpPr>
            <a:stCxn id="20" idx="0"/>
          </p:cNvCxnSpPr>
          <p:nvPr/>
        </p:nvCxnSpPr>
        <p:spPr bwMode="auto">
          <a:xfrm flipV="1">
            <a:off x="3597825" y="4153728"/>
            <a:ext cx="965133" cy="85944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931" name="Прямая соединительная линия 81930"/>
          <p:cNvCxnSpPr>
            <a:stCxn id="17" idx="0"/>
          </p:cNvCxnSpPr>
          <p:nvPr/>
        </p:nvCxnSpPr>
        <p:spPr bwMode="auto">
          <a:xfrm flipV="1">
            <a:off x="4665964" y="4465590"/>
            <a:ext cx="12279" cy="54758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933" name="Прямая соединительная линия 81932"/>
          <p:cNvCxnSpPr>
            <a:stCxn id="3080" idx="0"/>
          </p:cNvCxnSpPr>
          <p:nvPr/>
        </p:nvCxnSpPr>
        <p:spPr bwMode="auto">
          <a:xfrm flipH="1" flipV="1">
            <a:off x="5421054" y="4118407"/>
            <a:ext cx="273031" cy="92149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935" name="Прямая соединительная линия 81934"/>
          <p:cNvCxnSpPr>
            <a:stCxn id="18" idx="0"/>
          </p:cNvCxnSpPr>
          <p:nvPr/>
        </p:nvCxnSpPr>
        <p:spPr bwMode="auto">
          <a:xfrm flipH="1" flipV="1">
            <a:off x="5967113" y="3644514"/>
            <a:ext cx="741082" cy="136866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2" name="Прямоугольник 91"/>
          <p:cNvSpPr/>
          <p:nvPr/>
        </p:nvSpPr>
        <p:spPr bwMode="auto">
          <a:xfrm>
            <a:off x="1117447" y="5827912"/>
            <a:ext cx="239345" cy="154539"/>
          </a:xfrm>
          <a:prstGeom prst="rect">
            <a:avLst/>
          </a:prstGeom>
          <a:solidFill>
            <a:srgbClr val="E5F2F2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94" name="Прямоугольник 93"/>
          <p:cNvSpPr/>
          <p:nvPr/>
        </p:nvSpPr>
        <p:spPr bwMode="auto">
          <a:xfrm>
            <a:off x="1117446" y="6048887"/>
            <a:ext cx="239345" cy="154539"/>
          </a:xfrm>
          <a:prstGeom prst="rect">
            <a:avLst/>
          </a:prstGeom>
          <a:solidFill>
            <a:srgbClr val="D0D0D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b="1" smtClean="0">
              <a:solidFill>
                <a:srgbClr val="000000"/>
              </a:solidFill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1487402" y="5790449"/>
            <a:ext cx="3687526" cy="219814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defTabSz="914042"/>
            <a:r>
              <a:rPr lang="ru-RU" sz="1000" b="1" dirty="0" smtClean="0">
                <a:solidFill>
                  <a:srgbClr val="000000"/>
                </a:solidFill>
              </a:rPr>
              <a:t>Отечественные фирмы</a:t>
            </a:r>
            <a:endParaRPr lang="ru-RU" sz="1000" b="1" dirty="0">
              <a:solidFill>
                <a:srgbClr val="000000"/>
              </a:solidFill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1487402" y="6022479"/>
            <a:ext cx="5641586" cy="219814"/>
          </a:xfrm>
          <a:prstGeom prst="rect">
            <a:avLst/>
          </a:prstGeom>
          <a:noFill/>
        </p:spPr>
        <p:txBody>
          <a:bodyPr wrap="square" lIns="65288" tIns="32644" rIns="65288" bIns="32644" rtlCol="0">
            <a:spAutoFit/>
          </a:bodyPr>
          <a:lstStyle/>
          <a:p>
            <a:pPr defTabSz="914042"/>
            <a:r>
              <a:rPr lang="ru-RU" sz="1000" b="1" dirty="0" smtClean="0">
                <a:solidFill>
                  <a:srgbClr val="000000"/>
                </a:solidFill>
              </a:rPr>
              <a:t>Зарубежные фирмы, производящие на своих заводах, расположенных в РФ</a:t>
            </a:r>
            <a:endParaRPr lang="ru-RU" sz="1000" b="1" dirty="0">
              <a:solidFill>
                <a:srgbClr val="000000"/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1352600" y="6491436"/>
            <a:ext cx="6234675" cy="230820"/>
          </a:xfrm>
          <a:prstGeom prst="rect">
            <a:avLst/>
          </a:prstGeom>
          <a:noFill/>
        </p:spPr>
        <p:txBody>
          <a:bodyPr wrap="square" lIns="91426" tIns="45714" rIns="91426" bIns="45714" rtlCol="0">
            <a:spAutoFit/>
          </a:bodyPr>
          <a:lstStyle/>
          <a:p>
            <a:r>
              <a:rPr lang="ru-RU" sz="900" i="1" dirty="0">
                <a:solidFill>
                  <a:srgbClr val="000000"/>
                </a:solidFill>
              </a:rPr>
              <a:t>Источник: </a:t>
            </a:r>
            <a:r>
              <a:rPr lang="ru-RU" sz="900" i="1" dirty="0" smtClean="0">
                <a:solidFill>
                  <a:srgbClr val="000000"/>
                </a:solidFill>
              </a:rPr>
              <a:t>газета АВТОРЕВЮ</a:t>
            </a:r>
            <a:endParaRPr lang="ru-RU" sz="900" i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5410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5&quot;&gt;&lt;elem m_fUsage=&quot;1.95623231347250990000E+000&quot;&gt;&lt;m_ppcolschidx val=&quot;0&quot;/&gt;&lt;m_rgb r=&quot;99&quot; g=&quot;cc&quot; b=&quot;0&quot;/&gt;&lt;m_nBrightness val=&quot;0&quot;/&gt;&lt;/elem&gt;&lt;elem m_fUsage=&quot;1.87791048900000020000E+000&quot;&gt;&lt;m_ppcolschidx val=&quot;0&quot;/&gt;&lt;m_rgb r=&quot;ff&quot; g=&quot;c0&quot; b=&quot;0&quot;/&gt;&lt;m_nBrightness val=&quot;0&quot;/&gt;&lt;/elem&gt;&lt;elem m_fUsage=&quot;1.74852953648100030000E+000&quot;&gt;&lt;m_ppcolschidx val=&quot;0&quot;/&gt;&lt;m_rgb r=&quot;0&quot; g=&quot;80&quot; b=&quot;80&quot;/&gt;&lt;m_nBrightness val=&quot;0&quot;/&gt;&lt;/elem&gt;&lt;elem m_fUsage=&quot;1.53144100000000010000E+000&quot;&gt;&lt;m_ppcolschidx val=&quot;0&quot;/&gt;&lt;m_rgb r=&quot;f5&quot; g=&quot;8a&quot; b=&quot;1f&quot;/&gt;&lt;m_nBrightness val=&quot;0&quot;/&gt;&lt;/elem&gt;&lt;elem m_fUsage=&quot;8.26975340100000180000E-001&quot;&gt;&lt;m_ppcolschidx val=&quot;0&quot;/&gt;&lt;m_rgb r=&quot;b2&quot; g=&quot;d2&quot; b=&quot;d8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bR9dvdOUKOMm2Qxf.Kc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FjgrOLQE25BGoVkTs.Q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2688BodEOEtOZoYm.op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3nptAFw0GaDFbItNy2Y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y5rcOHe0iyTMCyxL4N5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9x5azuc0KXpzLhkhous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uoQKLTMkG0q6toB3DDs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0nXosB4ky9NhGh7kQ9.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zOAiGVD0qoXC3XbNaO7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Fc2xindU.eTv2vI2_h8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l9b9beYky_YZ5pWJ6ze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8WZaeKkkuR34fwYHs0L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Sdz7KQf0KItchX.jeOm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qzKNbXw0OZSvVhejBXe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wVJ1X5D0WOSYh5MJJi_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BOuC7m3EqZLK_zkL04H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.xNqGLk2W9tzzm89I8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im7vrRWkqQQmwWXj3T_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im7vrRWkqQQmwWXj3T_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im7vrRWkqQQmwWXj3T_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im7vrRWkqQQmwWXj3T_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im7vrRWkqQQmwWXj3T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DQrDUFlUyeqd7YsyDOd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pQnk7tckixhggMA8wHY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MVhh4lSEWboonGQ0oPe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JdVpn9zUWk7GwjAzJY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v4Wc30VEKBgMZ_MKzkM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W4Etgrx0.XS.2xnaK6g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C4PhybgES8EHhrKSwcp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QASvoNJ0iCXjKMlb39v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_GiGhHAUe8sayISKwl9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MiNSoZ6E6HEgqeaKTLJ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0KJ3FHC0iPjj_bKotu4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uNcxODkegITbmG8u3O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ilZ9eE7ky7Gg9DlxKau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yXobZSOk.tbm7M9d9OG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RX7Hq_IE2LwpD4BT23k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YiPvw7O0ikF7uvwIHvq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yHjPqKDU6tZMUnfdskn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8biPFYxEaQ8TdJuBHN5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oiOeg69ESO4QJ2k6dBJ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PA1JtxMEGg7Y6XKy7Wd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9x_1B.JkCnCi9gE5VC7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nvCDwHGka.BShxXsKFe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J1NJGCVUusVg4KthnVM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7AD1EEW06sAXGXoTmkE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Bv1eLdZU6EEY3kbwN5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LCNJQGk0WyA5_j_.bWY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gmz2nlqkqdJuT7dRI0d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ECb6lDe0a1LnuyTA.P1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esP0K_C0O4BlLyaV_mV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w6tGY9Sk.PCpzKesY6i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V7W4CCv0GTDLl1VPiwR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UNdDsaFEavbQQPC4700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WXM7E6M0OZaaYoRocAA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oYrZb.Ukm4.LspC_fPM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b0KCW1mUWVpqMdOjUZ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_4GmWxJUW3fB5u5C_2Y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Am8dhhhUqorRHw.Q2S.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oHl0BGz0eBC30MyDCrG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fu10qjlkyNHVOpCIZ3_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gkt186dkW.FfiWwPUMo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DRqPqUGU.xzXQ2tm7NG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eOLDTbVUud9jOFtfZhR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4OYh3zQketiBNYYMo0I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kso8TZb0Oudq0HcxS28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8BPxlfmkW8halTXkM.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JWsz_ymEOXdi7QwKWEy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ybq8HBW0.XHeYCjdcbS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_CZLz1c02Z5EhCe0Pv1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OQrpzawkiyM_1nme3i9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nBcWYI0kmUEk6.u7oq9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Fgz_JmxkGcR_lH5arYD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7g4c96Wka7ffGnK9J88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VCQczpoU.DQkWSSNOn5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kGF1cNFUaOc2ilwgvqU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_3WenLv0mUcMiwhiHPSg"/>
</p:tagLst>
</file>

<file path=ppt/theme/theme1.xml><?xml version="1.0" encoding="utf-8"?>
<a:theme xmlns:a="http://schemas.openxmlformats.org/drawingml/2006/main" name="2_Оформление по умолчанию">
  <a:themeElements>
    <a:clrScheme name="template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080"/>
      </a:accent1>
      <a:accent2>
        <a:srgbClr val="99CC00"/>
      </a:accent2>
      <a:accent3>
        <a:srgbClr val="808080"/>
      </a:accent3>
      <a:accent4>
        <a:srgbClr val="D0D0D0"/>
      </a:accent4>
      <a:accent5>
        <a:srgbClr val="F58A1F"/>
      </a:accent5>
      <a:accent6>
        <a:srgbClr val="FFC000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narVert">
          <a:fgClr>
            <a:srgbClr val="FFE4C9"/>
          </a:fgClr>
          <a:bgClr>
            <a:srgbClr val="FFFFFF"/>
          </a:bgClr>
        </a:patt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narVert">
          <a:fgClr>
            <a:srgbClr val="FFE4C9"/>
          </a:fgClr>
          <a:bgClr>
            <a:srgbClr val="FFFFFF"/>
          </a:bgClr>
        </a:patt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СПС0" id="{787797B7-9679-47AD-B6B6-2A20A9492C3C}" vid="{56CE202D-94B9-4A8A-9F10-DCF783D6AB70}"/>
    </a:ext>
  </a:extLst>
</a:theme>
</file>

<file path=ppt/theme/theme10.xml><?xml version="1.0" encoding="utf-8"?>
<a:theme xmlns:a="http://schemas.openxmlformats.org/drawingml/2006/main" name="8_Сеть">
  <a:themeElements>
    <a:clrScheme name="">
      <a:dk1>
        <a:srgbClr val="000000"/>
      </a:dk1>
      <a:lt1>
        <a:srgbClr val="FFFFFF"/>
      </a:lt1>
      <a:dk2>
        <a:srgbClr val="080808"/>
      </a:dk2>
      <a:lt2>
        <a:srgbClr val="808080"/>
      </a:lt2>
      <a:accent1>
        <a:srgbClr val="008080"/>
      </a:accent1>
      <a:accent2>
        <a:srgbClr val="B2B2B2"/>
      </a:accent2>
      <a:accent3>
        <a:srgbClr val="FFFFFF"/>
      </a:accent3>
      <a:accent4>
        <a:srgbClr val="000000"/>
      </a:accent4>
      <a:accent5>
        <a:srgbClr val="AAC0C0"/>
      </a:accent5>
      <a:accent6>
        <a:srgbClr val="A1A1A1"/>
      </a:accent6>
      <a:hlink>
        <a:srgbClr val="777777"/>
      </a:hlink>
      <a:folHlink>
        <a:srgbClr val="F8F8F8"/>
      </a:folHlink>
    </a:clrScheme>
    <a:fontScheme name="Се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arrow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6_Оформление по умолчанию">
  <a:themeElements>
    <a:clrScheme name="template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080"/>
      </a:accent1>
      <a:accent2>
        <a:srgbClr val="99CC00"/>
      </a:accent2>
      <a:accent3>
        <a:srgbClr val="808080"/>
      </a:accent3>
      <a:accent4>
        <a:srgbClr val="D0D0D0"/>
      </a:accent4>
      <a:accent5>
        <a:srgbClr val="F58A1F"/>
      </a:accent5>
      <a:accent6>
        <a:srgbClr val="FFC000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narVert">
          <a:fgClr>
            <a:srgbClr val="FFE4C9"/>
          </a:fgClr>
          <a:bgClr>
            <a:srgbClr val="FFFFFF"/>
          </a:bgClr>
        </a:patt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narVert">
          <a:fgClr>
            <a:srgbClr val="FFE4C9"/>
          </a:fgClr>
          <a:bgClr>
            <a:srgbClr val="FFFFFF"/>
          </a:bgClr>
        </a:patt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7_Оформление по умолчанию">
  <a:themeElements>
    <a:clrScheme name="template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080"/>
      </a:accent1>
      <a:accent2>
        <a:srgbClr val="99CC00"/>
      </a:accent2>
      <a:accent3>
        <a:srgbClr val="808080"/>
      </a:accent3>
      <a:accent4>
        <a:srgbClr val="D0D0D0"/>
      </a:accent4>
      <a:accent5>
        <a:srgbClr val="F58A1F"/>
      </a:accent5>
      <a:accent6>
        <a:srgbClr val="FFC000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narVert">
          <a:fgClr>
            <a:srgbClr val="FFE4C9"/>
          </a:fgClr>
          <a:bgClr>
            <a:srgbClr val="FFFFFF"/>
          </a:bgClr>
        </a:patt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narVert">
          <a:fgClr>
            <a:srgbClr val="FFE4C9"/>
          </a:fgClr>
          <a:bgClr>
            <a:srgbClr val="FFFFFF"/>
          </a:bgClr>
        </a:patt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ПС0" id="{787797B7-9679-47AD-B6B6-2A20A9492C3C}" vid="{56CE202D-94B9-4A8A-9F10-DCF783D6AB70}"/>
    </a:ext>
  </a:extLst>
</a:theme>
</file>

<file path=ppt/theme/theme13.xml><?xml version="1.0" encoding="utf-8"?>
<a:theme xmlns:a="http://schemas.openxmlformats.org/drawingml/2006/main" name="1_Оформление по умолчанию">
  <a:themeElements>
    <a:clrScheme name="template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080"/>
      </a:accent1>
      <a:accent2>
        <a:srgbClr val="99CC00"/>
      </a:accent2>
      <a:accent3>
        <a:srgbClr val="808080"/>
      </a:accent3>
      <a:accent4>
        <a:srgbClr val="D0D0D0"/>
      </a:accent4>
      <a:accent5>
        <a:srgbClr val="F58A1F"/>
      </a:accent5>
      <a:accent6>
        <a:srgbClr val="FFC000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narVert">
          <a:fgClr>
            <a:srgbClr val="FFE4C9"/>
          </a:fgClr>
          <a:bgClr>
            <a:srgbClr val="FFFFFF"/>
          </a:bgClr>
        </a:patt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narVert">
          <a:fgClr>
            <a:srgbClr val="FFE4C9"/>
          </a:fgClr>
          <a:bgClr>
            <a:srgbClr val="FFFFFF"/>
          </a:bgClr>
        </a:patt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ПС0" id="{787797B7-9679-47AD-B6B6-2A20A9492C3C}" vid="{56CE202D-94B9-4A8A-9F10-DCF783D6AB70}"/>
    </a:ext>
  </a:extLst>
</a:theme>
</file>

<file path=ppt/theme/theme14.xml><?xml version="1.0" encoding="utf-8"?>
<a:theme xmlns:a="http://schemas.openxmlformats.org/drawingml/2006/main" name="4_Сеть">
  <a:themeElements>
    <a:clrScheme name="">
      <a:dk1>
        <a:srgbClr val="000000"/>
      </a:dk1>
      <a:lt1>
        <a:srgbClr val="FFFFFF"/>
      </a:lt1>
      <a:dk2>
        <a:srgbClr val="080808"/>
      </a:dk2>
      <a:lt2>
        <a:srgbClr val="808080"/>
      </a:lt2>
      <a:accent1>
        <a:srgbClr val="008080"/>
      </a:accent1>
      <a:accent2>
        <a:srgbClr val="B2B2B2"/>
      </a:accent2>
      <a:accent3>
        <a:srgbClr val="FFFFFF"/>
      </a:accent3>
      <a:accent4>
        <a:srgbClr val="000000"/>
      </a:accent4>
      <a:accent5>
        <a:srgbClr val="AAC0C0"/>
      </a:accent5>
      <a:accent6>
        <a:srgbClr val="A1A1A1"/>
      </a:accent6>
      <a:hlink>
        <a:srgbClr val="777777"/>
      </a:hlink>
      <a:folHlink>
        <a:srgbClr val="F8F8F8"/>
      </a:folHlink>
    </a:clrScheme>
    <a:fontScheme name="Се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Сеть">
  <a:themeElements>
    <a:clrScheme name="">
      <a:dk1>
        <a:srgbClr val="000000"/>
      </a:dk1>
      <a:lt1>
        <a:srgbClr val="FFFFFF"/>
      </a:lt1>
      <a:dk2>
        <a:srgbClr val="080808"/>
      </a:dk2>
      <a:lt2>
        <a:srgbClr val="808080"/>
      </a:lt2>
      <a:accent1>
        <a:srgbClr val="008080"/>
      </a:accent1>
      <a:accent2>
        <a:srgbClr val="B2B2B2"/>
      </a:accent2>
      <a:accent3>
        <a:srgbClr val="FFFFFF"/>
      </a:accent3>
      <a:accent4>
        <a:srgbClr val="000000"/>
      </a:accent4>
      <a:accent5>
        <a:srgbClr val="AAC0C0"/>
      </a:accent5>
      <a:accent6>
        <a:srgbClr val="A1A1A1"/>
      </a:accent6>
      <a:hlink>
        <a:srgbClr val="777777"/>
      </a:hlink>
      <a:folHlink>
        <a:srgbClr val="F8F8F8"/>
      </a:folHlink>
    </a:clrScheme>
    <a:fontScheme name="Се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Оформление по умолчанию">
  <a:themeElements>
    <a:clrScheme name="template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080"/>
      </a:accent1>
      <a:accent2>
        <a:srgbClr val="99CC00"/>
      </a:accent2>
      <a:accent3>
        <a:srgbClr val="808080"/>
      </a:accent3>
      <a:accent4>
        <a:srgbClr val="D0D0D0"/>
      </a:accent4>
      <a:accent5>
        <a:srgbClr val="F58A1F"/>
      </a:accent5>
      <a:accent6>
        <a:srgbClr val="FFC000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narVert">
          <a:fgClr>
            <a:srgbClr val="FFE4C9"/>
          </a:fgClr>
          <a:bgClr>
            <a:srgbClr val="FFFFFF"/>
          </a:bgClr>
        </a:patt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narVert">
          <a:fgClr>
            <a:srgbClr val="FFE4C9"/>
          </a:fgClr>
          <a:bgClr>
            <a:srgbClr val="FFFFFF"/>
          </a:bgClr>
        </a:patt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СПС0" id="{787797B7-9679-47AD-B6B6-2A20A9492C3C}" vid="{56CE202D-94B9-4A8A-9F10-DCF783D6AB70}"/>
    </a:ext>
  </a:extLst>
</a:theme>
</file>

<file path=ppt/theme/theme4.xml><?xml version="1.0" encoding="utf-8"?>
<a:theme xmlns:a="http://schemas.openxmlformats.org/drawingml/2006/main" name="4_Оформление по умолчанию">
  <a:themeElements>
    <a:clrScheme name="template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080"/>
      </a:accent1>
      <a:accent2>
        <a:srgbClr val="99CC00"/>
      </a:accent2>
      <a:accent3>
        <a:srgbClr val="808080"/>
      </a:accent3>
      <a:accent4>
        <a:srgbClr val="D0D0D0"/>
      </a:accent4>
      <a:accent5>
        <a:srgbClr val="F58A1F"/>
      </a:accent5>
      <a:accent6>
        <a:srgbClr val="FFC000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narVert">
          <a:fgClr>
            <a:srgbClr val="FFE4C9"/>
          </a:fgClr>
          <a:bgClr>
            <a:srgbClr val="FFFFFF"/>
          </a:bgClr>
        </a:patt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narVert">
          <a:fgClr>
            <a:srgbClr val="FFE4C9"/>
          </a:fgClr>
          <a:bgClr>
            <a:srgbClr val="FFFFFF"/>
          </a:bgClr>
        </a:patt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СПС0" id="{787797B7-9679-47AD-B6B6-2A20A9492C3C}" vid="{56CE202D-94B9-4A8A-9F10-DCF783D6AB70}"/>
    </a:ext>
  </a:extLst>
</a:theme>
</file>

<file path=ppt/theme/theme5.xml><?xml version="1.0" encoding="utf-8"?>
<a:theme xmlns:a="http://schemas.openxmlformats.org/drawingml/2006/main" name="5_Оформление по умолчанию">
  <a:themeElements>
    <a:clrScheme name="template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080"/>
      </a:accent1>
      <a:accent2>
        <a:srgbClr val="99CC00"/>
      </a:accent2>
      <a:accent3>
        <a:srgbClr val="808080"/>
      </a:accent3>
      <a:accent4>
        <a:srgbClr val="D0D0D0"/>
      </a:accent4>
      <a:accent5>
        <a:srgbClr val="F58A1F"/>
      </a:accent5>
      <a:accent6>
        <a:srgbClr val="FFC000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narVert">
          <a:fgClr>
            <a:srgbClr val="FFE4C9"/>
          </a:fgClr>
          <a:bgClr>
            <a:srgbClr val="FFFFFF"/>
          </a:bgClr>
        </a:patt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narVert">
          <a:fgClr>
            <a:srgbClr val="FFE4C9"/>
          </a:fgClr>
          <a:bgClr>
            <a:srgbClr val="FFFFFF"/>
          </a:bgClr>
        </a:patt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СПС0" id="{787797B7-9679-47AD-B6B6-2A20A9492C3C}" vid="{56CE202D-94B9-4A8A-9F10-DCF783D6AB70}"/>
    </a:ext>
  </a:extLst>
</a:theme>
</file>

<file path=ppt/theme/theme6.xml><?xml version="1.0" encoding="utf-8"?>
<a:theme xmlns:a="http://schemas.openxmlformats.org/drawingml/2006/main" name="22_Оформление по умолчанию">
  <a:themeElements>
    <a:clrScheme name="template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080"/>
      </a:accent1>
      <a:accent2>
        <a:srgbClr val="99CC00"/>
      </a:accent2>
      <a:accent3>
        <a:srgbClr val="808080"/>
      </a:accent3>
      <a:accent4>
        <a:srgbClr val="D0D0D0"/>
      </a:accent4>
      <a:accent5>
        <a:srgbClr val="F58A1F"/>
      </a:accent5>
      <a:accent6>
        <a:srgbClr val="FFC000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narVert">
          <a:fgClr>
            <a:srgbClr val="FFE4C9"/>
          </a:fgClr>
          <a:bgClr>
            <a:srgbClr val="FFFFFF"/>
          </a:bgClr>
        </a:patt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narVert">
          <a:fgClr>
            <a:srgbClr val="FFE4C9"/>
          </a:fgClr>
          <a:bgClr>
            <a:srgbClr val="FFFFFF"/>
          </a:bgClr>
        </a:patt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3_Оформление по умолчанию">
  <a:themeElements>
    <a:clrScheme name="template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080"/>
      </a:accent1>
      <a:accent2>
        <a:srgbClr val="99CC00"/>
      </a:accent2>
      <a:accent3>
        <a:srgbClr val="808080"/>
      </a:accent3>
      <a:accent4>
        <a:srgbClr val="D0D0D0"/>
      </a:accent4>
      <a:accent5>
        <a:srgbClr val="F58A1F"/>
      </a:accent5>
      <a:accent6>
        <a:srgbClr val="FFC000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narVert">
          <a:fgClr>
            <a:srgbClr val="FFE4C9"/>
          </a:fgClr>
          <a:bgClr>
            <a:srgbClr val="FFFFFF"/>
          </a:bgClr>
        </a:patt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narVert">
          <a:fgClr>
            <a:srgbClr val="FFE4C9"/>
          </a:fgClr>
          <a:bgClr>
            <a:srgbClr val="FFFFFF"/>
          </a:bgClr>
        </a:patt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7_Сеть">
  <a:themeElements>
    <a:clrScheme name="">
      <a:dk1>
        <a:srgbClr val="000000"/>
      </a:dk1>
      <a:lt1>
        <a:srgbClr val="FFFFFF"/>
      </a:lt1>
      <a:dk2>
        <a:srgbClr val="080808"/>
      </a:dk2>
      <a:lt2>
        <a:srgbClr val="808080"/>
      </a:lt2>
      <a:accent1>
        <a:srgbClr val="008080"/>
      </a:accent1>
      <a:accent2>
        <a:srgbClr val="B2B2B2"/>
      </a:accent2>
      <a:accent3>
        <a:srgbClr val="FFFFFF"/>
      </a:accent3>
      <a:accent4>
        <a:srgbClr val="000000"/>
      </a:accent4>
      <a:accent5>
        <a:srgbClr val="AAC0C0"/>
      </a:accent5>
      <a:accent6>
        <a:srgbClr val="A1A1A1"/>
      </a:accent6>
      <a:hlink>
        <a:srgbClr val="777777"/>
      </a:hlink>
      <a:folHlink>
        <a:srgbClr val="F8F8F8"/>
      </a:folHlink>
    </a:clrScheme>
    <a:fontScheme name="Се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Оформление по умолчанию">
  <a:themeElements>
    <a:clrScheme name="template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8080"/>
      </a:accent1>
      <a:accent2>
        <a:srgbClr val="99CC00"/>
      </a:accent2>
      <a:accent3>
        <a:srgbClr val="808080"/>
      </a:accent3>
      <a:accent4>
        <a:srgbClr val="D0D0D0"/>
      </a:accent4>
      <a:accent5>
        <a:srgbClr val="F58A1F"/>
      </a:accent5>
      <a:accent6>
        <a:srgbClr val="FFC000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narVert">
          <a:fgClr>
            <a:srgbClr val="FFE4C9"/>
          </a:fgClr>
          <a:bgClr>
            <a:srgbClr val="FFFFFF"/>
          </a:bgClr>
        </a:patt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pattFill prst="narVert">
          <a:fgClr>
            <a:srgbClr val="FFE4C9"/>
          </a:fgClr>
          <a:bgClr>
            <a:srgbClr val="FFFFFF"/>
          </a:bgClr>
        </a:patt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1000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template">
    <a:dk1>
      <a:srgbClr val="000000"/>
    </a:dk1>
    <a:lt1>
      <a:srgbClr val="FFFFFF"/>
    </a:lt1>
    <a:dk2>
      <a:srgbClr val="000000"/>
    </a:dk2>
    <a:lt2>
      <a:srgbClr val="808080"/>
    </a:lt2>
    <a:accent1>
      <a:srgbClr val="008080"/>
    </a:accent1>
    <a:accent2>
      <a:srgbClr val="99CC00"/>
    </a:accent2>
    <a:accent3>
      <a:srgbClr val="808080"/>
    </a:accent3>
    <a:accent4>
      <a:srgbClr val="D0D0D0"/>
    </a:accent4>
    <a:accent5>
      <a:srgbClr val="F58A1F"/>
    </a:accent5>
    <a:accent6>
      <a:srgbClr val="FFC000"/>
    </a:accent6>
    <a:hlink>
      <a:srgbClr val="CCCCFF"/>
    </a:hlink>
    <a:folHlink>
      <a:srgbClr val="B2B2B2"/>
    </a:folHlink>
  </a:clrScheme>
</a:themeOverride>
</file>

<file path=ppt/theme/themeOverride10.xml><?xml version="1.0" encoding="utf-8"?>
<a:themeOverride xmlns:a="http://schemas.openxmlformats.org/drawingml/2006/main">
  <a:clrScheme name="template">
    <a:dk1>
      <a:srgbClr val="000000"/>
    </a:dk1>
    <a:lt1>
      <a:srgbClr val="FFFFFF"/>
    </a:lt1>
    <a:dk2>
      <a:srgbClr val="000000"/>
    </a:dk2>
    <a:lt2>
      <a:srgbClr val="808080"/>
    </a:lt2>
    <a:accent1>
      <a:srgbClr val="008080"/>
    </a:accent1>
    <a:accent2>
      <a:srgbClr val="99CC00"/>
    </a:accent2>
    <a:accent3>
      <a:srgbClr val="808080"/>
    </a:accent3>
    <a:accent4>
      <a:srgbClr val="D0D0D0"/>
    </a:accent4>
    <a:accent5>
      <a:srgbClr val="F58A1F"/>
    </a:accent5>
    <a:accent6>
      <a:srgbClr val="FFC000"/>
    </a:accent6>
    <a:hlink>
      <a:srgbClr val="CCCCFF"/>
    </a:hlink>
    <a:folHlink>
      <a:srgbClr val="B2B2B2"/>
    </a:folHlink>
  </a:clrScheme>
</a:themeOverride>
</file>

<file path=ppt/theme/themeOverride11.xml><?xml version="1.0" encoding="utf-8"?>
<a:themeOverride xmlns:a="http://schemas.openxmlformats.org/drawingml/2006/main">
  <a:clrScheme name="template">
    <a:dk1>
      <a:srgbClr val="000000"/>
    </a:dk1>
    <a:lt1>
      <a:srgbClr val="FFFFFF"/>
    </a:lt1>
    <a:dk2>
      <a:srgbClr val="000000"/>
    </a:dk2>
    <a:lt2>
      <a:srgbClr val="808080"/>
    </a:lt2>
    <a:accent1>
      <a:srgbClr val="008080"/>
    </a:accent1>
    <a:accent2>
      <a:srgbClr val="99CC00"/>
    </a:accent2>
    <a:accent3>
      <a:srgbClr val="808080"/>
    </a:accent3>
    <a:accent4>
      <a:srgbClr val="D0D0D0"/>
    </a:accent4>
    <a:accent5>
      <a:srgbClr val="F58A1F"/>
    </a:accent5>
    <a:accent6>
      <a:srgbClr val="FFC000"/>
    </a:accent6>
    <a:hlink>
      <a:srgbClr val="CCCCFF"/>
    </a:hlink>
    <a:folHlink>
      <a:srgbClr val="B2B2B2"/>
    </a:folHlink>
  </a:clrScheme>
</a:themeOverride>
</file>

<file path=ppt/theme/themeOverride12.xml><?xml version="1.0" encoding="utf-8"?>
<a:themeOverride xmlns:a="http://schemas.openxmlformats.org/drawingml/2006/main">
  <a:clrScheme name="template">
    <a:dk1>
      <a:srgbClr val="000000"/>
    </a:dk1>
    <a:lt1>
      <a:srgbClr val="FFFFFF"/>
    </a:lt1>
    <a:dk2>
      <a:srgbClr val="000000"/>
    </a:dk2>
    <a:lt2>
      <a:srgbClr val="808080"/>
    </a:lt2>
    <a:accent1>
      <a:srgbClr val="008080"/>
    </a:accent1>
    <a:accent2>
      <a:srgbClr val="99CC00"/>
    </a:accent2>
    <a:accent3>
      <a:srgbClr val="808080"/>
    </a:accent3>
    <a:accent4>
      <a:srgbClr val="D0D0D0"/>
    </a:accent4>
    <a:accent5>
      <a:srgbClr val="F58A1F"/>
    </a:accent5>
    <a:accent6>
      <a:srgbClr val="FFC000"/>
    </a:accent6>
    <a:hlink>
      <a:srgbClr val="CCCCFF"/>
    </a:hlink>
    <a:folHlink>
      <a:srgbClr val="B2B2B2"/>
    </a:folHlink>
  </a:clrScheme>
</a:themeOverride>
</file>

<file path=ppt/theme/themeOverride13.xml><?xml version="1.0" encoding="utf-8"?>
<a:themeOverride xmlns:a="http://schemas.openxmlformats.org/drawingml/2006/main">
  <a:clrScheme name="template">
    <a:dk1>
      <a:srgbClr val="000000"/>
    </a:dk1>
    <a:lt1>
      <a:srgbClr val="FFFFFF"/>
    </a:lt1>
    <a:dk2>
      <a:srgbClr val="000000"/>
    </a:dk2>
    <a:lt2>
      <a:srgbClr val="808080"/>
    </a:lt2>
    <a:accent1>
      <a:srgbClr val="008080"/>
    </a:accent1>
    <a:accent2>
      <a:srgbClr val="99CC00"/>
    </a:accent2>
    <a:accent3>
      <a:srgbClr val="808080"/>
    </a:accent3>
    <a:accent4>
      <a:srgbClr val="D0D0D0"/>
    </a:accent4>
    <a:accent5>
      <a:srgbClr val="F58A1F"/>
    </a:accent5>
    <a:accent6>
      <a:srgbClr val="FFC000"/>
    </a:accent6>
    <a:hlink>
      <a:srgbClr val="CCCCFF"/>
    </a:hlink>
    <a:folHlink>
      <a:srgbClr val="B2B2B2"/>
    </a:folHlink>
  </a:clrScheme>
</a:themeOverride>
</file>

<file path=ppt/theme/themeOverride14.xml><?xml version="1.0" encoding="utf-8"?>
<a:themeOverride xmlns:a="http://schemas.openxmlformats.org/drawingml/2006/main">
  <a:clrScheme name="template">
    <a:dk1>
      <a:srgbClr val="000000"/>
    </a:dk1>
    <a:lt1>
      <a:srgbClr val="FFFFFF"/>
    </a:lt1>
    <a:dk2>
      <a:srgbClr val="000000"/>
    </a:dk2>
    <a:lt2>
      <a:srgbClr val="808080"/>
    </a:lt2>
    <a:accent1>
      <a:srgbClr val="008080"/>
    </a:accent1>
    <a:accent2>
      <a:srgbClr val="99CC00"/>
    </a:accent2>
    <a:accent3>
      <a:srgbClr val="808080"/>
    </a:accent3>
    <a:accent4>
      <a:srgbClr val="D0D0D0"/>
    </a:accent4>
    <a:accent5>
      <a:srgbClr val="F58A1F"/>
    </a:accent5>
    <a:accent6>
      <a:srgbClr val="FFC000"/>
    </a:accent6>
    <a:hlink>
      <a:srgbClr val="CCCCFF"/>
    </a:hlink>
    <a:folHlink>
      <a:srgbClr val="B2B2B2"/>
    </a:folHlink>
  </a:clrScheme>
</a:themeOverride>
</file>

<file path=ppt/theme/themeOverride15.xml><?xml version="1.0" encoding="utf-8"?>
<a:themeOverride xmlns:a="http://schemas.openxmlformats.org/drawingml/2006/main">
  <a:clrScheme name="template">
    <a:dk1>
      <a:srgbClr val="000000"/>
    </a:dk1>
    <a:lt1>
      <a:srgbClr val="FFFFFF"/>
    </a:lt1>
    <a:dk2>
      <a:srgbClr val="000000"/>
    </a:dk2>
    <a:lt2>
      <a:srgbClr val="808080"/>
    </a:lt2>
    <a:accent1>
      <a:srgbClr val="008080"/>
    </a:accent1>
    <a:accent2>
      <a:srgbClr val="99CC00"/>
    </a:accent2>
    <a:accent3>
      <a:srgbClr val="808080"/>
    </a:accent3>
    <a:accent4>
      <a:srgbClr val="D0D0D0"/>
    </a:accent4>
    <a:accent5>
      <a:srgbClr val="F58A1F"/>
    </a:accent5>
    <a:accent6>
      <a:srgbClr val="FFC000"/>
    </a:accent6>
    <a:hlink>
      <a:srgbClr val="CCCCFF"/>
    </a:hlink>
    <a:folHlink>
      <a:srgbClr val="B2B2B2"/>
    </a:folHlink>
  </a:clrScheme>
</a:themeOverride>
</file>

<file path=ppt/theme/themeOverride16.xml><?xml version="1.0" encoding="utf-8"?>
<a:themeOverride xmlns:a="http://schemas.openxmlformats.org/drawingml/2006/main">
  <a:clrScheme name="template">
    <a:dk1>
      <a:srgbClr val="000000"/>
    </a:dk1>
    <a:lt1>
      <a:srgbClr val="FFFFFF"/>
    </a:lt1>
    <a:dk2>
      <a:srgbClr val="000000"/>
    </a:dk2>
    <a:lt2>
      <a:srgbClr val="808080"/>
    </a:lt2>
    <a:accent1>
      <a:srgbClr val="008080"/>
    </a:accent1>
    <a:accent2>
      <a:srgbClr val="99CC00"/>
    </a:accent2>
    <a:accent3>
      <a:srgbClr val="808080"/>
    </a:accent3>
    <a:accent4>
      <a:srgbClr val="D0D0D0"/>
    </a:accent4>
    <a:accent5>
      <a:srgbClr val="F58A1F"/>
    </a:accent5>
    <a:accent6>
      <a:srgbClr val="FFC000"/>
    </a:accent6>
    <a:hlink>
      <a:srgbClr val="CCCCFF"/>
    </a:hlink>
    <a:folHlink>
      <a:srgbClr val="B2B2B2"/>
    </a:folHlink>
  </a:clrScheme>
</a:themeOverride>
</file>

<file path=ppt/theme/themeOverride17.xml><?xml version="1.0" encoding="utf-8"?>
<a:themeOverride xmlns:a="http://schemas.openxmlformats.org/drawingml/2006/main">
  <a:clrScheme name="template">
    <a:dk1>
      <a:srgbClr val="000000"/>
    </a:dk1>
    <a:lt1>
      <a:srgbClr val="FFFFFF"/>
    </a:lt1>
    <a:dk2>
      <a:srgbClr val="000000"/>
    </a:dk2>
    <a:lt2>
      <a:srgbClr val="808080"/>
    </a:lt2>
    <a:accent1>
      <a:srgbClr val="008080"/>
    </a:accent1>
    <a:accent2>
      <a:srgbClr val="99CC00"/>
    </a:accent2>
    <a:accent3>
      <a:srgbClr val="808080"/>
    </a:accent3>
    <a:accent4>
      <a:srgbClr val="D0D0D0"/>
    </a:accent4>
    <a:accent5>
      <a:srgbClr val="F58A1F"/>
    </a:accent5>
    <a:accent6>
      <a:srgbClr val="FFC000"/>
    </a:accent6>
    <a:hlink>
      <a:srgbClr val="CCCCFF"/>
    </a:hlink>
    <a:folHlink>
      <a:srgbClr val="B2B2B2"/>
    </a:folHlink>
  </a:clrScheme>
</a:themeOverride>
</file>

<file path=ppt/theme/themeOverride18.xml><?xml version="1.0" encoding="utf-8"?>
<a:themeOverride xmlns:a="http://schemas.openxmlformats.org/drawingml/2006/main">
  <a:clrScheme name="template">
    <a:dk1>
      <a:srgbClr val="000000"/>
    </a:dk1>
    <a:lt1>
      <a:srgbClr val="FFFFFF"/>
    </a:lt1>
    <a:dk2>
      <a:srgbClr val="000000"/>
    </a:dk2>
    <a:lt2>
      <a:srgbClr val="808080"/>
    </a:lt2>
    <a:accent1>
      <a:srgbClr val="008080"/>
    </a:accent1>
    <a:accent2>
      <a:srgbClr val="99CC00"/>
    </a:accent2>
    <a:accent3>
      <a:srgbClr val="808080"/>
    </a:accent3>
    <a:accent4>
      <a:srgbClr val="D0D0D0"/>
    </a:accent4>
    <a:accent5>
      <a:srgbClr val="F58A1F"/>
    </a:accent5>
    <a:accent6>
      <a:srgbClr val="FFC000"/>
    </a:accent6>
    <a:hlink>
      <a:srgbClr val="CCCCFF"/>
    </a:hlink>
    <a:folHlink>
      <a:srgbClr val="B2B2B2"/>
    </a:folHlink>
  </a:clrScheme>
</a:themeOverride>
</file>

<file path=ppt/theme/themeOverride2.xml><?xml version="1.0" encoding="utf-8"?>
<a:themeOverride xmlns:a="http://schemas.openxmlformats.org/drawingml/2006/main">
  <a:clrScheme name="template">
    <a:dk1>
      <a:srgbClr val="000000"/>
    </a:dk1>
    <a:lt1>
      <a:srgbClr val="FFFFFF"/>
    </a:lt1>
    <a:dk2>
      <a:srgbClr val="000000"/>
    </a:dk2>
    <a:lt2>
      <a:srgbClr val="808080"/>
    </a:lt2>
    <a:accent1>
      <a:srgbClr val="008080"/>
    </a:accent1>
    <a:accent2>
      <a:srgbClr val="99CC00"/>
    </a:accent2>
    <a:accent3>
      <a:srgbClr val="808080"/>
    </a:accent3>
    <a:accent4>
      <a:srgbClr val="D0D0D0"/>
    </a:accent4>
    <a:accent5>
      <a:srgbClr val="F58A1F"/>
    </a:accent5>
    <a:accent6>
      <a:srgbClr val="FFC000"/>
    </a:accent6>
    <a:hlink>
      <a:srgbClr val="CCCCFF"/>
    </a:hlink>
    <a:folHlink>
      <a:srgbClr val="B2B2B2"/>
    </a:folHlink>
  </a:clrScheme>
</a:themeOverride>
</file>

<file path=ppt/theme/themeOverride3.xml><?xml version="1.0" encoding="utf-8"?>
<a:themeOverride xmlns:a="http://schemas.openxmlformats.org/drawingml/2006/main">
  <a:clrScheme name="template">
    <a:dk1>
      <a:srgbClr val="000000"/>
    </a:dk1>
    <a:lt1>
      <a:srgbClr val="FFFFFF"/>
    </a:lt1>
    <a:dk2>
      <a:srgbClr val="000000"/>
    </a:dk2>
    <a:lt2>
      <a:srgbClr val="808080"/>
    </a:lt2>
    <a:accent1>
      <a:srgbClr val="008080"/>
    </a:accent1>
    <a:accent2>
      <a:srgbClr val="99CC00"/>
    </a:accent2>
    <a:accent3>
      <a:srgbClr val="808080"/>
    </a:accent3>
    <a:accent4>
      <a:srgbClr val="D0D0D0"/>
    </a:accent4>
    <a:accent5>
      <a:srgbClr val="F58A1F"/>
    </a:accent5>
    <a:accent6>
      <a:srgbClr val="FFC000"/>
    </a:accent6>
    <a:hlink>
      <a:srgbClr val="CCCCFF"/>
    </a:hlink>
    <a:folHlink>
      <a:srgbClr val="B2B2B2"/>
    </a:folHlink>
  </a:clrScheme>
</a:themeOverride>
</file>

<file path=ppt/theme/themeOverride4.xml><?xml version="1.0" encoding="utf-8"?>
<a:themeOverride xmlns:a="http://schemas.openxmlformats.org/drawingml/2006/main">
  <a:clrScheme name="template">
    <a:dk1>
      <a:srgbClr val="000000"/>
    </a:dk1>
    <a:lt1>
      <a:srgbClr val="FFFFFF"/>
    </a:lt1>
    <a:dk2>
      <a:srgbClr val="000000"/>
    </a:dk2>
    <a:lt2>
      <a:srgbClr val="808080"/>
    </a:lt2>
    <a:accent1>
      <a:srgbClr val="008080"/>
    </a:accent1>
    <a:accent2>
      <a:srgbClr val="99CC00"/>
    </a:accent2>
    <a:accent3>
      <a:srgbClr val="808080"/>
    </a:accent3>
    <a:accent4>
      <a:srgbClr val="D0D0D0"/>
    </a:accent4>
    <a:accent5>
      <a:srgbClr val="F58A1F"/>
    </a:accent5>
    <a:accent6>
      <a:srgbClr val="FFC000"/>
    </a:accent6>
    <a:hlink>
      <a:srgbClr val="CCCCFF"/>
    </a:hlink>
    <a:folHlink>
      <a:srgbClr val="B2B2B2"/>
    </a:folHlink>
  </a:clrScheme>
</a:themeOverride>
</file>

<file path=ppt/theme/themeOverride5.xml><?xml version="1.0" encoding="utf-8"?>
<a:themeOverride xmlns:a="http://schemas.openxmlformats.org/drawingml/2006/main">
  <a:clrScheme name="template">
    <a:dk1>
      <a:srgbClr val="000000"/>
    </a:dk1>
    <a:lt1>
      <a:srgbClr val="FFFFFF"/>
    </a:lt1>
    <a:dk2>
      <a:srgbClr val="000000"/>
    </a:dk2>
    <a:lt2>
      <a:srgbClr val="808080"/>
    </a:lt2>
    <a:accent1>
      <a:srgbClr val="008080"/>
    </a:accent1>
    <a:accent2>
      <a:srgbClr val="99CC00"/>
    </a:accent2>
    <a:accent3>
      <a:srgbClr val="808080"/>
    </a:accent3>
    <a:accent4>
      <a:srgbClr val="D0D0D0"/>
    </a:accent4>
    <a:accent5>
      <a:srgbClr val="F58A1F"/>
    </a:accent5>
    <a:accent6>
      <a:srgbClr val="FFC000"/>
    </a:accent6>
    <a:hlink>
      <a:srgbClr val="CCCCFF"/>
    </a:hlink>
    <a:folHlink>
      <a:srgbClr val="B2B2B2"/>
    </a:folHlink>
  </a:clrScheme>
</a:themeOverride>
</file>

<file path=ppt/theme/themeOverride6.xml><?xml version="1.0" encoding="utf-8"?>
<a:themeOverride xmlns:a="http://schemas.openxmlformats.org/drawingml/2006/main">
  <a:clrScheme name="template">
    <a:dk1>
      <a:srgbClr val="000000"/>
    </a:dk1>
    <a:lt1>
      <a:srgbClr val="FFFFFF"/>
    </a:lt1>
    <a:dk2>
      <a:srgbClr val="000000"/>
    </a:dk2>
    <a:lt2>
      <a:srgbClr val="808080"/>
    </a:lt2>
    <a:accent1>
      <a:srgbClr val="008080"/>
    </a:accent1>
    <a:accent2>
      <a:srgbClr val="99CC00"/>
    </a:accent2>
    <a:accent3>
      <a:srgbClr val="808080"/>
    </a:accent3>
    <a:accent4>
      <a:srgbClr val="D0D0D0"/>
    </a:accent4>
    <a:accent5>
      <a:srgbClr val="F58A1F"/>
    </a:accent5>
    <a:accent6>
      <a:srgbClr val="FFC000"/>
    </a:accent6>
    <a:hlink>
      <a:srgbClr val="CCCCFF"/>
    </a:hlink>
    <a:folHlink>
      <a:srgbClr val="B2B2B2"/>
    </a:folHlink>
  </a:clrScheme>
</a:themeOverride>
</file>

<file path=ppt/theme/themeOverride7.xml><?xml version="1.0" encoding="utf-8"?>
<a:themeOverride xmlns:a="http://schemas.openxmlformats.org/drawingml/2006/main">
  <a:clrScheme name="template">
    <a:dk1>
      <a:srgbClr val="000000"/>
    </a:dk1>
    <a:lt1>
      <a:srgbClr val="FFFFFF"/>
    </a:lt1>
    <a:dk2>
      <a:srgbClr val="000000"/>
    </a:dk2>
    <a:lt2>
      <a:srgbClr val="808080"/>
    </a:lt2>
    <a:accent1>
      <a:srgbClr val="008080"/>
    </a:accent1>
    <a:accent2>
      <a:srgbClr val="99CC00"/>
    </a:accent2>
    <a:accent3>
      <a:srgbClr val="808080"/>
    </a:accent3>
    <a:accent4>
      <a:srgbClr val="D0D0D0"/>
    </a:accent4>
    <a:accent5>
      <a:srgbClr val="F58A1F"/>
    </a:accent5>
    <a:accent6>
      <a:srgbClr val="FFC000"/>
    </a:accent6>
    <a:hlink>
      <a:srgbClr val="CCCCFF"/>
    </a:hlink>
    <a:folHlink>
      <a:srgbClr val="B2B2B2"/>
    </a:folHlink>
  </a:clrScheme>
</a:themeOverride>
</file>

<file path=ppt/theme/themeOverride8.xml><?xml version="1.0" encoding="utf-8"?>
<a:themeOverride xmlns:a="http://schemas.openxmlformats.org/drawingml/2006/main">
  <a:clrScheme name="template">
    <a:dk1>
      <a:srgbClr val="000000"/>
    </a:dk1>
    <a:lt1>
      <a:srgbClr val="FFFFFF"/>
    </a:lt1>
    <a:dk2>
      <a:srgbClr val="000000"/>
    </a:dk2>
    <a:lt2>
      <a:srgbClr val="808080"/>
    </a:lt2>
    <a:accent1>
      <a:srgbClr val="008080"/>
    </a:accent1>
    <a:accent2>
      <a:srgbClr val="99CC00"/>
    </a:accent2>
    <a:accent3>
      <a:srgbClr val="808080"/>
    </a:accent3>
    <a:accent4>
      <a:srgbClr val="D0D0D0"/>
    </a:accent4>
    <a:accent5>
      <a:srgbClr val="F58A1F"/>
    </a:accent5>
    <a:accent6>
      <a:srgbClr val="FFC000"/>
    </a:accent6>
    <a:hlink>
      <a:srgbClr val="CCCCFF"/>
    </a:hlink>
    <a:folHlink>
      <a:srgbClr val="B2B2B2"/>
    </a:folHlink>
  </a:clrScheme>
</a:themeOverride>
</file>

<file path=ppt/theme/themeOverride9.xml><?xml version="1.0" encoding="utf-8"?>
<a:themeOverride xmlns:a="http://schemas.openxmlformats.org/drawingml/2006/main">
  <a:clrScheme name="template">
    <a:dk1>
      <a:srgbClr val="000000"/>
    </a:dk1>
    <a:lt1>
      <a:srgbClr val="FFFFFF"/>
    </a:lt1>
    <a:dk2>
      <a:srgbClr val="000000"/>
    </a:dk2>
    <a:lt2>
      <a:srgbClr val="808080"/>
    </a:lt2>
    <a:accent1>
      <a:srgbClr val="008080"/>
    </a:accent1>
    <a:accent2>
      <a:srgbClr val="99CC00"/>
    </a:accent2>
    <a:accent3>
      <a:srgbClr val="808080"/>
    </a:accent3>
    <a:accent4>
      <a:srgbClr val="D0D0D0"/>
    </a:accent4>
    <a:accent5>
      <a:srgbClr val="F58A1F"/>
    </a:accent5>
    <a:accent6>
      <a:srgbClr val="FFC000"/>
    </a:accent6>
    <a:hlink>
      <a:srgbClr val="CCCCFF"/>
    </a:hlink>
    <a:folHlink>
      <a:srgbClr val="B2B2B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731</TotalTime>
  <Words>1312</Words>
  <Application>Microsoft Office PowerPoint</Application>
  <PresentationFormat>Лист A4 (210x297 мм)</PresentationFormat>
  <Paragraphs>306</Paragraphs>
  <Slides>10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4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0</vt:i4>
      </vt:variant>
    </vt:vector>
  </HeadingPairs>
  <TitlesOfParts>
    <vt:vector size="26" baseType="lpstr">
      <vt:lpstr>2_Оформление по умолчанию</vt:lpstr>
      <vt:lpstr>3_Сеть</vt:lpstr>
      <vt:lpstr>3_Оформление по умолчанию</vt:lpstr>
      <vt:lpstr>4_Оформление по умолчанию</vt:lpstr>
      <vt:lpstr>5_Оформление по умолчанию</vt:lpstr>
      <vt:lpstr>22_Оформление по умолчанию</vt:lpstr>
      <vt:lpstr>23_Оформление по умолчанию</vt:lpstr>
      <vt:lpstr>7_Сеть</vt:lpstr>
      <vt:lpstr>Оформление по умолчанию</vt:lpstr>
      <vt:lpstr>8_Сеть</vt:lpstr>
      <vt:lpstr>6_Оформление по умолчанию</vt:lpstr>
      <vt:lpstr>7_Оформление по умолчанию</vt:lpstr>
      <vt:lpstr>1_Оформление по умолчанию</vt:lpstr>
      <vt:lpstr>4_Сеть</vt:lpstr>
      <vt:lpstr>think-cell Slide</vt:lpstr>
      <vt:lpstr>Диаграмм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ЛОКАЛИЗАЦИЯ НИОКР И СОЗДАНИЕ ИССЛЕДОВАТЕЛЬСКИХ ЦЕНТРОВ</dc:title>
  <dc:creator>Казарян Асмик Арменовна</dc:creator>
  <cp:lastModifiedBy>Коновалов Олег Павлович</cp:lastModifiedBy>
  <cp:revision>139</cp:revision>
  <cp:lastPrinted>2014-09-09T15:52:20Z</cp:lastPrinted>
  <dcterms:created xsi:type="dcterms:W3CDTF">2014-09-08T10:50:33Z</dcterms:created>
  <dcterms:modified xsi:type="dcterms:W3CDTF">2015-02-11T04:03:49Z</dcterms:modified>
</cp:coreProperties>
</file>